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309" r:id="rId3"/>
    <p:sldId id="311" r:id="rId4"/>
    <p:sldId id="257" r:id="rId5"/>
    <p:sldId id="312" r:id="rId6"/>
    <p:sldId id="313" r:id="rId7"/>
    <p:sldId id="314" r:id="rId8"/>
    <p:sldId id="315" r:id="rId9"/>
    <p:sldId id="320" r:id="rId10"/>
    <p:sldId id="316" r:id="rId11"/>
    <p:sldId id="263" r:id="rId12"/>
    <p:sldId id="317" r:id="rId13"/>
    <p:sldId id="318" r:id="rId14"/>
    <p:sldId id="319" r:id="rId15"/>
    <p:sldId id="264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92D7A1-82EB-4D22-BB18-1679018EBBCB}" v="264" dt="2024-05-08T20:07:27.3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7" autoAdjust="0"/>
    <p:restoredTop sz="94660"/>
  </p:normalViewPr>
  <p:slideViewPr>
    <p:cSldViewPr snapToGrid="0">
      <p:cViewPr varScale="1">
        <p:scale>
          <a:sx n="72" d="100"/>
          <a:sy n="72" d="100"/>
        </p:scale>
        <p:origin x="45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rzyminski, Grzegorz" userId="0c1cb62d-c60a-4e4f-b918-a4b6f306529d" providerId="ADAL" clId="{E092D7A1-82EB-4D22-BB18-1679018EBBCB}"/>
    <pc:docChg chg="undo redo custSel addSld delSld modSld sldOrd delMainMaster modMainMaster replTag">
      <pc:chgData name="Strzyminski, Grzegorz" userId="0c1cb62d-c60a-4e4f-b918-a4b6f306529d" providerId="ADAL" clId="{E092D7A1-82EB-4D22-BB18-1679018EBBCB}" dt="2024-05-08T20:07:27.305" v="2202"/>
      <pc:docMkLst>
        <pc:docMk/>
      </pc:docMkLst>
      <pc:sldChg chg="addSp delSp modSp mod modNotes">
        <pc:chgData name="Strzyminski, Grzegorz" userId="0c1cb62d-c60a-4e4f-b918-a4b6f306529d" providerId="ADAL" clId="{E092D7A1-82EB-4D22-BB18-1679018EBBCB}" dt="2024-05-08T20:04:55.650" v="1542" actId="1076"/>
        <pc:sldMkLst>
          <pc:docMk/>
          <pc:sldMk cId="3183648747" sldId="256"/>
        </pc:sldMkLst>
        <pc:spChg chg="mod">
          <ac:chgData name="Strzyminski, Grzegorz" userId="0c1cb62d-c60a-4e4f-b918-a4b6f306529d" providerId="ADAL" clId="{E092D7A1-82EB-4D22-BB18-1679018EBBCB}" dt="2024-05-08T20:04:55.600" v="1514" actId="948"/>
          <ac:spMkLst>
            <pc:docMk/>
            <pc:sldMk cId="3183648747" sldId="256"/>
            <ac:spMk id="2" creationId="{321C3F91-B0F6-F32C-9685-D17905EA71E7}"/>
          </ac:spMkLst>
        </pc:spChg>
        <pc:spChg chg="mod">
          <ac:chgData name="Strzyminski, Grzegorz" userId="0c1cb62d-c60a-4e4f-b918-a4b6f306529d" providerId="ADAL" clId="{E092D7A1-82EB-4D22-BB18-1679018EBBCB}" dt="2024-05-08T20:04:55.065" v="1500" actId="790"/>
          <ac:spMkLst>
            <pc:docMk/>
            <pc:sldMk cId="3183648747" sldId="256"/>
            <ac:spMk id="3" creationId="{02395A24-37C0-A695-CCE7-96772F485FAF}"/>
          </ac:spMkLst>
        </pc:spChg>
        <pc:spChg chg="del mod modVis">
          <ac:chgData name="Strzyminski, Grzegorz" userId="0c1cb62d-c60a-4e4f-b918-a4b6f306529d" providerId="ADAL" clId="{E092D7A1-82EB-4D22-BB18-1679018EBBCB}" dt="2024-05-08T20:04:55.647" v="1541" actId="478"/>
          <ac:spMkLst>
            <pc:docMk/>
            <pc:sldMk cId="3183648747" sldId="256"/>
            <ac:spMk id="4" creationId="{9699554C-FC6C-3EB2-0BDE-E5A12FB48280}"/>
          </ac:spMkLst>
        </pc:spChg>
        <pc:spChg chg="add del mod modVis">
          <ac:chgData name="Strzyminski, Grzegorz" userId="0c1cb62d-c60a-4e4f-b918-a4b6f306529d" providerId="ADAL" clId="{E092D7A1-82EB-4D22-BB18-1679018EBBCB}" dt="2024-05-08T18:01:38.014" v="271"/>
          <ac:spMkLst>
            <pc:docMk/>
            <pc:sldMk cId="3183648747" sldId="256"/>
            <ac:spMk id="4" creationId="{E168CAA3-51E0-008A-F971-59AB29A0FA1F}"/>
          </ac:spMkLst>
        </pc:spChg>
        <pc:spChg chg="add del mod modVis">
          <ac:chgData name="Strzyminski, Grzegorz" userId="0c1cb62d-c60a-4e4f-b918-a4b6f306529d" providerId="ADAL" clId="{E092D7A1-82EB-4D22-BB18-1679018EBBCB}" dt="2024-05-08T18:01:39.742" v="318"/>
          <ac:spMkLst>
            <pc:docMk/>
            <pc:sldMk cId="3183648747" sldId="256"/>
            <ac:spMk id="6" creationId="{380F822B-D49B-798C-1FD0-2F9BFA41EC6B}"/>
          </ac:spMkLst>
        </pc:spChg>
        <pc:spChg chg="add del mod modVis">
          <ac:chgData name="Strzyminski, Grzegorz" userId="0c1cb62d-c60a-4e4f-b918-a4b6f306529d" providerId="ADAL" clId="{E092D7A1-82EB-4D22-BB18-1679018EBBCB}" dt="2024-05-08T18:01:47.021" v="386"/>
          <ac:spMkLst>
            <pc:docMk/>
            <pc:sldMk cId="3183648747" sldId="256"/>
            <ac:spMk id="7" creationId="{1F4D1D50-7780-9006-3DCF-3C19EFA0E293}"/>
          </ac:spMkLst>
        </pc:spChg>
        <pc:spChg chg="add del mod modVis">
          <ac:chgData name="Strzyminski, Grzegorz" userId="0c1cb62d-c60a-4e4f-b918-a4b6f306529d" providerId="ADAL" clId="{E092D7A1-82EB-4D22-BB18-1679018EBBCB}" dt="2024-05-08T18:01:48.526" v="420"/>
          <ac:spMkLst>
            <pc:docMk/>
            <pc:sldMk cId="3183648747" sldId="256"/>
            <ac:spMk id="8" creationId="{E7353C2F-CE3B-64B0-EBBE-212CBBCCAAD0}"/>
          </ac:spMkLst>
        </pc:spChg>
        <pc:spChg chg="add del mod modVis">
          <ac:chgData name="Strzyminski, Grzegorz" userId="0c1cb62d-c60a-4e4f-b918-a4b6f306529d" providerId="ADAL" clId="{E092D7A1-82EB-4D22-BB18-1679018EBBCB}" dt="2024-05-08T18:01:49.216" v="447"/>
          <ac:spMkLst>
            <pc:docMk/>
            <pc:sldMk cId="3183648747" sldId="256"/>
            <ac:spMk id="9" creationId="{00E527DD-8E02-2A10-7564-8CDBD8F4DD5C}"/>
          </ac:spMkLst>
        </pc:spChg>
        <pc:spChg chg="add del mod modVis">
          <ac:chgData name="Strzyminski, Grzegorz" userId="0c1cb62d-c60a-4e4f-b918-a4b6f306529d" providerId="ADAL" clId="{E092D7A1-82EB-4D22-BB18-1679018EBBCB}" dt="2024-05-08T18:01:51.408" v="476"/>
          <ac:spMkLst>
            <pc:docMk/>
            <pc:sldMk cId="3183648747" sldId="256"/>
            <ac:spMk id="10" creationId="{D51CE6E6-8CF0-BC3A-96D6-923054527C3F}"/>
          </ac:spMkLst>
        </pc:spChg>
        <pc:spChg chg="add del mod modVis">
          <ac:chgData name="Strzyminski, Grzegorz" userId="0c1cb62d-c60a-4e4f-b918-a4b6f306529d" providerId="ADAL" clId="{E092D7A1-82EB-4D22-BB18-1679018EBBCB}" dt="2024-05-08T18:01:53.183" v="503"/>
          <ac:spMkLst>
            <pc:docMk/>
            <pc:sldMk cId="3183648747" sldId="256"/>
            <ac:spMk id="11" creationId="{FFA5647A-7767-AEF2-8519-3BBB5BA5238E}"/>
          </ac:spMkLst>
        </pc:spChg>
        <pc:graphicFrameChg chg="add mod ord modVis replST">
          <ac:chgData name="Strzyminski, Grzegorz" userId="0c1cb62d-c60a-4e4f-b918-a4b6f306529d" providerId="ADAL" clId="{E092D7A1-82EB-4D22-BB18-1679018EBBCB}" dt="2024-05-08T20:04:55.650" v="1542" actId="1076"/>
          <ac:graphicFrameMkLst>
            <pc:docMk/>
            <pc:sldMk cId="3183648747" sldId="256"/>
            <ac:graphicFrameMk id="5" creationId="{7977FC4F-454C-1B17-4F7A-176BE4B22831}"/>
          </ac:graphicFrameMkLst>
        </pc:graphicFrameChg>
      </pc:sldChg>
      <pc:sldChg chg="modSp add del mod">
        <pc:chgData name="Strzyminski, Grzegorz" userId="0c1cb62d-c60a-4e4f-b918-a4b6f306529d" providerId="ADAL" clId="{E092D7A1-82EB-4D22-BB18-1679018EBBCB}" dt="2024-05-08T20:04:29.357" v="1439" actId="2710"/>
        <pc:sldMkLst>
          <pc:docMk/>
          <pc:sldMk cId="2446621696" sldId="257"/>
        </pc:sldMkLst>
        <pc:spChg chg="mod">
          <ac:chgData name="Strzyminski, Grzegorz" userId="0c1cb62d-c60a-4e4f-b918-a4b6f306529d" providerId="ADAL" clId="{E092D7A1-82EB-4D22-BB18-1679018EBBCB}" dt="2024-05-08T20:04:29.357" v="1439" actId="2710"/>
          <ac:spMkLst>
            <pc:docMk/>
            <pc:sldMk cId="2446621696" sldId="257"/>
            <ac:spMk id="5" creationId="{C33592B9-9D08-4CC5-79E0-4715D66CE161}"/>
          </ac:spMkLst>
        </pc:spChg>
      </pc:sldChg>
      <pc:sldChg chg="modSp del mod">
        <pc:chgData name="Strzyminski, Grzegorz" userId="0c1cb62d-c60a-4e4f-b918-a4b6f306529d" providerId="ADAL" clId="{E092D7A1-82EB-4D22-BB18-1679018EBBCB}" dt="2024-05-08T20:03:41.079" v="1366" actId="47"/>
        <pc:sldMkLst>
          <pc:docMk/>
          <pc:sldMk cId="21339057" sldId="258"/>
        </pc:sldMkLst>
        <pc:spChg chg="mod">
          <ac:chgData name="Strzyminski, Grzegorz" userId="0c1cb62d-c60a-4e4f-b918-a4b6f306529d" providerId="ADAL" clId="{E092D7A1-82EB-4D22-BB18-1679018EBBCB}" dt="2024-05-08T18:03:23.067" v="592" actId="20577"/>
          <ac:spMkLst>
            <pc:docMk/>
            <pc:sldMk cId="21339057" sldId="258"/>
            <ac:spMk id="5" creationId="{C33592B9-9D08-4CC5-79E0-4715D66CE161}"/>
          </ac:spMkLst>
        </pc:spChg>
      </pc:sldChg>
      <pc:sldChg chg="del">
        <pc:chgData name="Strzyminski, Grzegorz" userId="0c1cb62d-c60a-4e4f-b918-a4b6f306529d" providerId="ADAL" clId="{E092D7A1-82EB-4D22-BB18-1679018EBBCB}" dt="2024-05-08T20:03:41.079" v="1366" actId="47"/>
        <pc:sldMkLst>
          <pc:docMk/>
          <pc:sldMk cId="3369914746" sldId="259"/>
        </pc:sldMkLst>
      </pc:sldChg>
      <pc:sldChg chg="del">
        <pc:chgData name="Strzyminski, Grzegorz" userId="0c1cb62d-c60a-4e4f-b918-a4b6f306529d" providerId="ADAL" clId="{E092D7A1-82EB-4D22-BB18-1679018EBBCB}" dt="2024-05-08T20:03:41.079" v="1366" actId="47"/>
        <pc:sldMkLst>
          <pc:docMk/>
          <pc:sldMk cId="3043160211" sldId="260"/>
        </pc:sldMkLst>
      </pc:sldChg>
      <pc:sldChg chg="del">
        <pc:chgData name="Strzyminski, Grzegorz" userId="0c1cb62d-c60a-4e4f-b918-a4b6f306529d" providerId="ADAL" clId="{E092D7A1-82EB-4D22-BB18-1679018EBBCB}" dt="2024-05-08T20:03:41.079" v="1366" actId="47"/>
        <pc:sldMkLst>
          <pc:docMk/>
          <pc:sldMk cId="3103465210" sldId="261"/>
        </pc:sldMkLst>
      </pc:sldChg>
      <pc:sldChg chg="del">
        <pc:chgData name="Strzyminski, Grzegorz" userId="0c1cb62d-c60a-4e4f-b918-a4b6f306529d" providerId="ADAL" clId="{E092D7A1-82EB-4D22-BB18-1679018EBBCB}" dt="2024-05-08T20:03:41.079" v="1366" actId="47"/>
        <pc:sldMkLst>
          <pc:docMk/>
          <pc:sldMk cId="1249952260" sldId="262"/>
        </pc:sldMkLst>
      </pc:sldChg>
      <pc:sldChg chg="addSp delSp modSp mod ord">
        <pc:chgData name="Strzyminski, Grzegorz" userId="0c1cb62d-c60a-4e4f-b918-a4b6f306529d" providerId="ADAL" clId="{E092D7A1-82EB-4D22-BB18-1679018EBBCB}" dt="2024-05-08T20:02:44.864" v="1301"/>
        <pc:sldMkLst>
          <pc:docMk/>
          <pc:sldMk cId="3877404633" sldId="263"/>
        </pc:sldMkLst>
        <pc:spChg chg="add del mod modVis">
          <ac:chgData name="Strzyminski, Grzegorz" userId="0c1cb62d-c60a-4e4f-b918-a4b6f306529d" providerId="ADAL" clId="{E092D7A1-82EB-4D22-BB18-1679018EBBCB}" dt="2024-05-08T20:02:41.081" v="1228"/>
          <ac:spMkLst>
            <pc:docMk/>
            <pc:sldMk cId="3877404633" sldId="263"/>
            <ac:spMk id="2" creationId="{643CE4D2-AF4A-628C-13F3-9839A4348D5C}"/>
          </ac:spMkLst>
        </pc:spChg>
        <pc:spChg chg="mod">
          <ac:chgData name="Strzyminski, Grzegorz" userId="0c1cb62d-c60a-4e4f-b918-a4b6f306529d" providerId="ADAL" clId="{E092D7A1-82EB-4D22-BB18-1679018EBBCB}" dt="2024-05-08T20:02:44.846" v="1276" actId="948"/>
          <ac:spMkLst>
            <pc:docMk/>
            <pc:sldMk cId="3877404633" sldId="263"/>
            <ac:spMk id="4" creationId="{36E55460-8A90-5580-E513-0693E23AD7FC}"/>
          </ac:spMkLst>
        </pc:spChg>
        <pc:spChg chg="add del mod modVis">
          <ac:chgData name="Strzyminski, Grzegorz" userId="0c1cb62d-c60a-4e4f-b918-a4b6f306529d" providerId="ADAL" clId="{E092D7A1-82EB-4D22-BB18-1679018EBBCB}" dt="2024-05-08T20:02:42.565" v="1271"/>
          <ac:spMkLst>
            <pc:docMk/>
            <pc:sldMk cId="3877404633" sldId="263"/>
            <ac:spMk id="5" creationId="{47207CD2-BBB4-19DC-0E55-76A0B7D33550}"/>
          </ac:spMkLst>
        </pc:spChg>
        <pc:spChg chg="add del mod modVis">
          <ac:chgData name="Strzyminski, Grzegorz" userId="0c1cb62d-c60a-4e4f-b918-a4b6f306529d" providerId="ADAL" clId="{E092D7A1-82EB-4D22-BB18-1679018EBBCB}" dt="2024-05-08T20:02:44.862" v="1299"/>
          <ac:spMkLst>
            <pc:docMk/>
            <pc:sldMk cId="3877404633" sldId="263"/>
            <ac:spMk id="6" creationId="{52E99174-6D27-05F7-59FB-D15809ED7B16}"/>
          </ac:spMkLst>
        </pc:spChg>
        <pc:graphicFrameChg chg="add mod ord modVis replST">
          <ac:chgData name="Strzyminski, Grzegorz" userId="0c1cb62d-c60a-4e4f-b918-a4b6f306529d" providerId="ADAL" clId="{E092D7A1-82EB-4D22-BB18-1679018EBBCB}" dt="2024-05-08T20:02:44.864" v="1301"/>
          <ac:graphicFrameMkLst>
            <pc:docMk/>
            <pc:sldMk cId="3877404633" sldId="263"/>
            <ac:graphicFrameMk id="3" creationId="{10913C73-D956-5172-B65C-2461815C203A}"/>
          </ac:graphicFrameMkLst>
        </pc:graphicFrameChg>
      </pc:sldChg>
      <pc:sldChg chg="addSp delSp modSp add del mod">
        <pc:chgData name="Strzyminski, Grzegorz" userId="0c1cb62d-c60a-4e4f-b918-a4b6f306529d" providerId="ADAL" clId="{E092D7A1-82EB-4D22-BB18-1679018EBBCB}" dt="2024-05-08T18:01:05.611" v="206" actId="47"/>
        <pc:sldMkLst>
          <pc:docMk/>
          <pc:sldMk cId="2170091903" sldId="310"/>
        </pc:sldMkLst>
        <pc:spChg chg="add del mod modVis">
          <ac:chgData name="Strzyminski, Grzegorz" userId="0c1cb62d-c60a-4e4f-b918-a4b6f306529d" providerId="ADAL" clId="{E092D7A1-82EB-4D22-BB18-1679018EBBCB}" dt="2024-05-08T17:59:41.529" v="48"/>
          <ac:spMkLst>
            <pc:docMk/>
            <pc:sldMk cId="2170091903" sldId="310"/>
            <ac:spMk id="2" creationId="{D9FB9210-EC46-96EB-8987-BDD7A083AE24}"/>
          </ac:spMkLst>
        </pc:spChg>
        <pc:spChg chg="mod">
          <ac:chgData name="Strzyminski, Grzegorz" userId="0c1cb62d-c60a-4e4f-b918-a4b6f306529d" providerId="ADAL" clId="{E092D7A1-82EB-4D22-BB18-1679018EBBCB}" dt="2024-05-08T17:59:46.133" v="155" actId="948"/>
          <ac:spMkLst>
            <pc:docMk/>
            <pc:sldMk cId="2170091903" sldId="310"/>
            <ac:spMk id="3" creationId="{82D01EDB-5848-4135-B6D0-333030E66F3B}"/>
          </ac:spMkLst>
        </pc:spChg>
        <pc:spChg chg="add del mod modVis">
          <ac:chgData name="Strzyminski, Grzegorz" userId="0c1cb62d-c60a-4e4f-b918-a4b6f306529d" providerId="ADAL" clId="{E092D7A1-82EB-4D22-BB18-1679018EBBCB}" dt="2024-05-08T17:59:42.207" v="93"/>
          <ac:spMkLst>
            <pc:docMk/>
            <pc:sldMk cId="2170091903" sldId="310"/>
            <ac:spMk id="6" creationId="{8D2B63B5-E8D3-6715-950A-8D7CA8DDFE69}"/>
          </ac:spMkLst>
        </pc:spChg>
        <pc:spChg chg="add del mod modVis">
          <ac:chgData name="Strzyminski, Grzegorz" userId="0c1cb62d-c60a-4e4f-b918-a4b6f306529d" providerId="ADAL" clId="{E092D7A1-82EB-4D22-BB18-1679018EBBCB}" dt="2024-05-08T17:59:43.851" v="123"/>
          <ac:spMkLst>
            <pc:docMk/>
            <pc:sldMk cId="2170091903" sldId="310"/>
            <ac:spMk id="7" creationId="{F04C2FCA-5942-4A16-F4D5-A64541DA7FF7}"/>
          </ac:spMkLst>
        </pc:spChg>
        <pc:spChg chg="mod">
          <ac:chgData name="Strzyminski, Grzegorz" userId="0c1cb62d-c60a-4e4f-b918-a4b6f306529d" providerId="ADAL" clId="{E092D7A1-82EB-4D22-BB18-1679018EBBCB}" dt="2024-05-08T17:59:54.873" v="184" actId="14100"/>
          <ac:spMkLst>
            <pc:docMk/>
            <pc:sldMk cId="2170091903" sldId="310"/>
            <ac:spMk id="8" creationId="{23F96A93-EA59-0E2F-B204-C374D576BAA4}"/>
          </ac:spMkLst>
        </pc:spChg>
        <pc:spChg chg="add del mod modVis">
          <ac:chgData name="Strzyminski, Grzegorz" userId="0c1cb62d-c60a-4e4f-b918-a4b6f306529d" providerId="ADAL" clId="{E092D7A1-82EB-4D22-BB18-1679018EBBCB}" dt="2024-05-08T17:59:45.221" v="151"/>
          <ac:spMkLst>
            <pc:docMk/>
            <pc:sldMk cId="2170091903" sldId="310"/>
            <ac:spMk id="9" creationId="{12842109-2FFA-EAC0-65AF-976879B4D6DF}"/>
          </ac:spMkLst>
        </pc:spChg>
        <pc:spChg chg="add del mod modVis">
          <ac:chgData name="Strzyminski, Grzegorz" userId="0c1cb62d-c60a-4e4f-b918-a4b6f306529d" providerId="ADAL" clId="{E092D7A1-82EB-4D22-BB18-1679018EBBCB}" dt="2024-05-08T17:59:46.150" v="179"/>
          <ac:spMkLst>
            <pc:docMk/>
            <pc:sldMk cId="2170091903" sldId="310"/>
            <ac:spMk id="10" creationId="{F0613562-5E53-6A8E-645B-106602B8C4C6}"/>
          </ac:spMkLst>
        </pc:spChg>
        <pc:graphicFrameChg chg="mod">
          <ac:chgData name="Strzyminski, Grzegorz" userId="0c1cb62d-c60a-4e4f-b918-a4b6f306529d" providerId="ADAL" clId="{E092D7A1-82EB-4D22-BB18-1679018EBBCB}" dt="2024-05-08T17:59:46.153" v="181"/>
          <ac:graphicFrameMkLst>
            <pc:docMk/>
            <pc:sldMk cId="2170091903" sldId="310"/>
            <ac:graphicFrameMk id="5" creationId="{586C2A66-C4FD-45B0-83D1-5F0407BAD6A1}"/>
          </ac:graphicFrameMkLst>
        </pc:graphicFrameChg>
      </pc:sldChg>
      <pc:sldChg chg="addSp delSp modSp add mod ord modNotes">
        <pc:chgData name="Strzyminski, Grzegorz" userId="0c1cb62d-c60a-4e4f-b918-a4b6f306529d" providerId="ADAL" clId="{E092D7A1-82EB-4D22-BB18-1679018EBBCB}" dt="2024-05-08T20:04:55.647" v="1540"/>
        <pc:sldMkLst>
          <pc:docMk/>
          <pc:sldMk cId="1366482214" sldId="311"/>
        </pc:sldMkLst>
        <pc:spChg chg="add mod">
          <ac:chgData name="Strzyminski, Grzegorz" userId="0c1cb62d-c60a-4e4f-b918-a4b6f306529d" providerId="ADAL" clId="{E092D7A1-82EB-4D22-BB18-1679018EBBCB}" dt="2024-05-08T20:04:55.071" v="1504" actId="790"/>
          <ac:spMkLst>
            <pc:docMk/>
            <pc:sldMk cId="1366482214" sldId="311"/>
            <ac:spMk id="3" creationId="{FD0861D9-220A-D165-70E3-9BBCE8712D5B}"/>
          </ac:spMkLst>
        </pc:spChg>
        <pc:spChg chg="mod">
          <ac:chgData name="Strzyminski, Grzegorz" userId="0c1cb62d-c60a-4e4f-b918-a4b6f306529d" providerId="ADAL" clId="{E092D7A1-82EB-4D22-BB18-1679018EBBCB}" dt="2024-05-08T20:04:55.598" v="1513" actId="948"/>
          <ac:spMkLst>
            <pc:docMk/>
            <pc:sldMk cId="1366482214" sldId="311"/>
            <ac:spMk id="4" creationId="{36E55460-8A90-5580-E513-0693E23AD7FC}"/>
          </ac:spMkLst>
        </pc:spChg>
        <pc:spChg chg="del mod">
          <ac:chgData name="Strzyminski, Grzegorz" userId="0c1cb62d-c60a-4e4f-b918-a4b6f306529d" providerId="ADAL" clId="{E092D7A1-82EB-4D22-BB18-1679018EBBCB}" dt="2024-05-08T18:00:12.063" v="189" actId="478"/>
          <ac:spMkLst>
            <pc:docMk/>
            <pc:sldMk cId="1366482214" sldId="311"/>
            <ac:spMk id="5" creationId="{C33592B9-9D08-4CC5-79E0-4715D66CE161}"/>
          </ac:spMkLst>
        </pc:spChg>
        <pc:spChg chg="add del mod">
          <ac:chgData name="Strzyminski, Grzegorz" userId="0c1cb62d-c60a-4e4f-b918-a4b6f306529d" providerId="ADAL" clId="{E092D7A1-82EB-4D22-BB18-1679018EBBCB}" dt="2024-05-08T18:00:31.641" v="191"/>
          <ac:spMkLst>
            <pc:docMk/>
            <pc:sldMk cId="1366482214" sldId="311"/>
            <ac:spMk id="6" creationId="{6B7366FB-FF00-6B8A-34DE-B92DF97A83DB}"/>
          </ac:spMkLst>
        </pc:spChg>
        <pc:spChg chg="add del mod">
          <ac:chgData name="Strzyminski, Grzegorz" userId="0c1cb62d-c60a-4e4f-b918-a4b6f306529d" providerId="ADAL" clId="{E092D7A1-82EB-4D22-BB18-1679018EBBCB}" dt="2024-05-08T18:00:31.641" v="191"/>
          <ac:spMkLst>
            <pc:docMk/>
            <pc:sldMk cId="1366482214" sldId="311"/>
            <ac:spMk id="12" creationId="{1F1FB40C-8A79-1DF5-BD1F-903D71AB8D10}"/>
          </ac:spMkLst>
        </pc:spChg>
        <pc:spChg chg="add del mod">
          <ac:chgData name="Strzyminski, Grzegorz" userId="0c1cb62d-c60a-4e4f-b918-a4b6f306529d" providerId="ADAL" clId="{E092D7A1-82EB-4D22-BB18-1679018EBBCB}" dt="2024-05-08T18:00:31.641" v="191"/>
          <ac:spMkLst>
            <pc:docMk/>
            <pc:sldMk cId="1366482214" sldId="311"/>
            <ac:spMk id="13" creationId="{F8F11A9D-AD70-4FF8-30FF-3FEFA8650BA6}"/>
          </ac:spMkLst>
        </pc:spChg>
        <pc:spChg chg="add del mod">
          <ac:chgData name="Strzyminski, Grzegorz" userId="0c1cb62d-c60a-4e4f-b918-a4b6f306529d" providerId="ADAL" clId="{E092D7A1-82EB-4D22-BB18-1679018EBBCB}" dt="2024-05-08T18:00:31.641" v="191"/>
          <ac:spMkLst>
            <pc:docMk/>
            <pc:sldMk cId="1366482214" sldId="311"/>
            <ac:spMk id="14" creationId="{DE013E07-B8C0-41A5-1B8B-D81FC5FAAC47}"/>
          </ac:spMkLst>
        </pc:spChg>
        <pc:spChg chg="add del mod">
          <ac:chgData name="Strzyminski, Grzegorz" userId="0c1cb62d-c60a-4e4f-b918-a4b6f306529d" providerId="ADAL" clId="{E092D7A1-82EB-4D22-BB18-1679018EBBCB}" dt="2024-05-08T18:00:31.641" v="191"/>
          <ac:spMkLst>
            <pc:docMk/>
            <pc:sldMk cId="1366482214" sldId="311"/>
            <ac:spMk id="15" creationId="{0C92AF23-54A7-420C-311F-0A0553B4FF22}"/>
          </ac:spMkLst>
        </pc:spChg>
        <pc:spChg chg="add mod">
          <ac:chgData name="Strzyminski, Grzegorz" userId="0c1cb62d-c60a-4e4f-b918-a4b6f306529d" providerId="ADAL" clId="{E092D7A1-82EB-4D22-BB18-1679018EBBCB}" dt="2024-05-08T20:04:55.073" v="1505" actId="790"/>
          <ac:spMkLst>
            <pc:docMk/>
            <pc:sldMk cId="1366482214" sldId="311"/>
            <ac:spMk id="16" creationId="{FC676DF6-A479-84FE-69D9-14B72461E329}"/>
          </ac:spMkLst>
        </pc:spChg>
        <pc:spChg chg="add del mod">
          <ac:chgData name="Strzyminski, Grzegorz" userId="0c1cb62d-c60a-4e4f-b918-a4b6f306529d" providerId="ADAL" clId="{E092D7A1-82EB-4D22-BB18-1679018EBBCB}" dt="2024-05-08T18:00:52.904" v="198"/>
          <ac:spMkLst>
            <pc:docMk/>
            <pc:sldMk cId="1366482214" sldId="311"/>
            <ac:spMk id="17" creationId="{AB7C0F2F-0A53-DC6E-E0CB-7B1BA8AECB3F}"/>
          </ac:spMkLst>
        </pc:spChg>
        <pc:spChg chg="add del mod">
          <ac:chgData name="Strzyminski, Grzegorz" userId="0c1cb62d-c60a-4e4f-b918-a4b6f306529d" providerId="ADAL" clId="{E092D7A1-82EB-4D22-BB18-1679018EBBCB}" dt="2024-05-08T18:00:52.904" v="198"/>
          <ac:spMkLst>
            <pc:docMk/>
            <pc:sldMk cId="1366482214" sldId="311"/>
            <ac:spMk id="23" creationId="{D9D15001-62DE-F7ED-8091-ECD8789F1BD2}"/>
          </ac:spMkLst>
        </pc:spChg>
        <pc:spChg chg="add del mod">
          <ac:chgData name="Strzyminski, Grzegorz" userId="0c1cb62d-c60a-4e4f-b918-a4b6f306529d" providerId="ADAL" clId="{E092D7A1-82EB-4D22-BB18-1679018EBBCB}" dt="2024-05-08T18:00:52.904" v="198"/>
          <ac:spMkLst>
            <pc:docMk/>
            <pc:sldMk cId="1366482214" sldId="311"/>
            <ac:spMk id="24" creationId="{C0C9FF07-D8E5-83C6-7B7A-65FD07886C4A}"/>
          </ac:spMkLst>
        </pc:spChg>
        <pc:spChg chg="add del mod">
          <ac:chgData name="Strzyminski, Grzegorz" userId="0c1cb62d-c60a-4e4f-b918-a4b6f306529d" providerId="ADAL" clId="{E092D7A1-82EB-4D22-BB18-1679018EBBCB}" dt="2024-05-08T18:00:52.904" v="198"/>
          <ac:spMkLst>
            <pc:docMk/>
            <pc:sldMk cId="1366482214" sldId="311"/>
            <ac:spMk id="25" creationId="{FD452E3A-2B3B-D814-DFA3-49E6B507BA7D}"/>
          </ac:spMkLst>
        </pc:spChg>
        <pc:spChg chg="add del mod">
          <ac:chgData name="Strzyminski, Grzegorz" userId="0c1cb62d-c60a-4e4f-b918-a4b6f306529d" providerId="ADAL" clId="{E092D7A1-82EB-4D22-BB18-1679018EBBCB}" dt="2024-05-08T18:00:52.904" v="198"/>
          <ac:spMkLst>
            <pc:docMk/>
            <pc:sldMk cId="1366482214" sldId="311"/>
            <ac:spMk id="26" creationId="{ED9B88D6-72F8-0DAD-5B14-92F4BD4DA112}"/>
          </ac:spMkLst>
        </pc:spChg>
        <pc:spChg chg="add mod">
          <ac:chgData name="Strzyminski, Grzegorz" userId="0c1cb62d-c60a-4e4f-b918-a4b6f306529d" providerId="ADAL" clId="{E092D7A1-82EB-4D22-BB18-1679018EBBCB}" dt="2024-05-08T20:04:55.073" v="1506" actId="790"/>
          <ac:spMkLst>
            <pc:docMk/>
            <pc:sldMk cId="1366482214" sldId="311"/>
            <ac:spMk id="27" creationId="{8E87A71D-3A57-769E-4ECF-AC1EC8C97737}"/>
          </ac:spMkLst>
        </pc:spChg>
        <pc:spChg chg="add mod">
          <ac:chgData name="Strzyminski, Grzegorz" userId="0c1cb62d-c60a-4e4f-b918-a4b6f306529d" providerId="ADAL" clId="{E092D7A1-82EB-4D22-BB18-1679018EBBCB}" dt="2024-05-08T20:04:55.074" v="1507" actId="790"/>
          <ac:spMkLst>
            <pc:docMk/>
            <pc:sldMk cId="1366482214" sldId="311"/>
            <ac:spMk id="33" creationId="{5333EBBE-EC36-71A5-CCFC-1A07916994BF}"/>
          </ac:spMkLst>
        </pc:spChg>
        <pc:spChg chg="add mod">
          <ac:chgData name="Strzyminski, Grzegorz" userId="0c1cb62d-c60a-4e4f-b918-a4b6f306529d" providerId="ADAL" clId="{E092D7A1-82EB-4D22-BB18-1679018EBBCB}" dt="2024-05-08T20:04:55.075" v="1508" actId="790"/>
          <ac:spMkLst>
            <pc:docMk/>
            <pc:sldMk cId="1366482214" sldId="311"/>
            <ac:spMk id="34" creationId="{8A9AEB49-02E6-FC02-80F9-CFC2ED19A833}"/>
          </ac:spMkLst>
        </pc:spChg>
        <pc:spChg chg="add mod">
          <ac:chgData name="Strzyminski, Grzegorz" userId="0c1cb62d-c60a-4e4f-b918-a4b6f306529d" providerId="ADAL" clId="{E092D7A1-82EB-4D22-BB18-1679018EBBCB}" dt="2024-05-08T20:04:55.075" v="1509" actId="790"/>
          <ac:spMkLst>
            <pc:docMk/>
            <pc:sldMk cId="1366482214" sldId="311"/>
            <ac:spMk id="35" creationId="{4BF1F064-FD32-FDF7-52C4-F423E161BEC7}"/>
          </ac:spMkLst>
        </pc:spChg>
        <pc:spChg chg="add mod">
          <ac:chgData name="Strzyminski, Grzegorz" userId="0c1cb62d-c60a-4e4f-b918-a4b6f306529d" providerId="ADAL" clId="{E092D7A1-82EB-4D22-BB18-1679018EBBCB}" dt="2024-05-08T20:04:55.076" v="1510" actId="790"/>
          <ac:spMkLst>
            <pc:docMk/>
            <pc:sldMk cId="1366482214" sldId="311"/>
            <ac:spMk id="36" creationId="{D957467C-68FD-D35A-D37B-59B20FE9DF93}"/>
          </ac:spMkLst>
        </pc:spChg>
        <pc:graphicFrameChg chg="mod ord modVis replST">
          <ac:chgData name="Strzyminski, Grzegorz" userId="0c1cb62d-c60a-4e4f-b918-a4b6f306529d" providerId="ADAL" clId="{E092D7A1-82EB-4D22-BB18-1679018EBBCB}" dt="2024-05-08T20:04:55.647" v="1540"/>
          <ac:graphicFrameMkLst>
            <pc:docMk/>
            <pc:sldMk cId="1366482214" sldId="311"/>
            <ac:graphicFrameMk id="2" creationId="{BC9A47E8-2C22-6D50-E59A-2DC831A461C5}"/>
          </ac:graphicFrameMkLst>
        </pc:graphicFrameChg>
        <pc:picChg chg="add del mod">
          <ac:chgData name="Strzyminski, Grzegorz" userId="0c1cb62d-c60a-4e4f-b918-a4b6f306529d" providerId="ADAL" clId="{E092D7A1-82EB-4D22-BB18-1679018EBBCB}" dt="2024-05-08T18:00:31.641" v="191"/>
          <ac:picMkLst>
            <pc:docMk/>
            <pc:sldMk cId="1366482214" sldId="311"/>
            <ac:picMk id="7" creationId="{B7E0D47D-FB7C-7837-9686-94B4FAC54234}"/>
          </ac:picMkLst>
        </pc:picChg>
        <pc:picChg chg="add del mod">
          <ac:chgData name="Strzyminski, Grzegorz" userId="0c1cb62d-c60a-4e4f-b918-a4b6f306529d" providerId="ADAL" clId="{E092D7A1-82EB-4D22-BB18-1679018EBBCB}" dt="2024-05-08T18:00:31.641" v="191"/>
          <ac:picMkLst>
            <pc:docMk/>
            <pc:sldMk cId="1366482214" sldId="311"/>
            <ac:picMk id="8" creationId="{B1F3570E-5482-8246-748F-8DF74B898322}"/>
          </ac:picMkLst>
        </pc:picChg>
        <pc:picChg chg="add del mod">
          <ac:chgData name="Strzyminski, Grzegorz" userId="0c1cb62d-c60a-4e4f-b918-a4b6f306529d" providerId="ADAL" clId="{E092D7A1-82EB-4D22-BB18-1679018EBBCB}" dt="2024-05-08T18:00:31.641" v="191"/>
          <ac:picMkLst>
            <pc:docMk/>
            <pc:sldMk cId="1366482214" sldId="311"/>
            <ac:picMk id="9" creationId="{C2E8FB57-A334-D922-CC17-E925CFADD8D6}"/>
          </ac:picMkLst>
        </pc:picChg>
        <pc:picChg chg="add del mod">
          <ac:chgData name="Strzyminski, Grzegorz" userId="0c1cb62d-c60a-4e4f-b918-a4b6f306529d" providerId="ADAL" clId="{E092D7A1-82EB-4D22-BB18-1679018EBBCB}" dt="2024-05-08T18:00:31.641" v="191"/>
          <ac:picMkLst>
            <pc:docMk/>
            <pc:sldMk cId="1366482214" sldId="311"/>
            <ac:picMk id="10" creationId="{3F374EF7-A9E8-D2AB-31F7-AEB73F758851}"/>
          </ac:picMkLst>
        </pc:picChg>
        <pc:picChg chg="add del mod">
          <ac:chgData name="Strzyminski, Grzegorz" userId="0c1cb62d-c60a-4e4f-b918-a4b6f306529d" providerId="ADAL" clId="{E092D7A1-82EB-4D22-BB18-1679018EBBCB}" dt="2024-05-08T18:00:31.641" v="191"/>
          <ac:picMkLst>
            <pc:docMk/>
            <pc:sldMk cId="1366482214" sldId="311"/>
            <ac:picMk id="11" creationId="{4020688E-0E66-7BF8-2237-770A88F7EC87}"/>
          </ac:picMkLst>
        </pc:picChg>
        <pc:picChg chg="add del mod">
          <ac:chgData name="Strzyminski, Grzegorz" userId="0c1cb62d-c60a-4e4f-b918-a4b6f306529d" providerId="ADAL" clId="{E092D7A1-82EB-4D22-BB18-1679018EBBCB}" dt="2024-05-08T18:00:52.904" v="198"/>
          <ac:picMkLst>
            <pc:docMk/>
            <pc:sldMk cId="1366482214" sldId="311"/>
            <ac:picMk id="18" creationId="{086055ED-9715-0C5F-91DC-BABED57D7B44}"/>
          </ac:picMkLst>
        </pc:picChg>
        <pc:picChg chg="add del mod">
          <ac:chgData name="Strzyminski, Grzegorz" userId="0c1cb62d-c60a-4e4f-b918-a4b6f306529d" providerId="ADAL" clId="{E092D7A1-82EB-4D22-BB18-1679018EBBCB}" dt="2024-05-08T18:00:52.904" v="198"/>
          <ac:picMkLst>
            <pc:docMk/>
            <pc:sldMk cId="1366482214" sldId="311"/>
            <ac:picMk id="19" creationId="{E26614E1-8EB9-A32D-AFE6-47613CB687D0}"/>
          </ac:picMkLst>
        </pc:picChg>
        <pc:picChg chg="add del mod">
          <ac:chgData name="Strzyminski, Grzegorz" userId="0c1cb62d-c60a-4e4f-b918-a4b6f306529d" providerId="ADAL" clId="{E092D7A1-82EB-4D22-BB18-1679018EBBCB}" dt="2024-05-08T18:00:52.904" v="198"/>
          <ac:picMkLst>
            <pc:docMk/>
            <pc:sldMk cId="1366482214" sldId="311"/>
            <ac:picMk id="20" creationId="{1DEA00AF-077E-B438-5437-7DF84628A753}"/>
          </ac:picMkLst>
        </pc:picChg>
        <pc:picChg chg="add del mod">
          <ac:chgData name="Strzyminski, Grzegorz" userId="0c1cb62d-c60a-4e4f-b918-a4b6f306529d" providerId="ADAL" clId="{E092D7A1-82EB-4D22-BB18-1679018EBBCB}" dt="2024-05-08T18:00:52.904" v="198"/>
          <ac:picMkLst>
            <pc:docMk/>
            <pc:sldMk cId="1366482214" sldId="311"/>
            <ac:picMk id="21" creationId="{2ADF3A2C-1501-71B9-F4DD-BEFDEC82E309}"/>
          </ac:picMkLst>
        </pc:picChg>
        <pc:picChg chg="add del mod">
          <ac:chgData name="Strzyminski, Grzegorz" userId="0c1cb62d-c60a-4e4f-b918-a4b6f306529d" providerId="ADAL" clId="{E092D7A1-82EB-4D22-BB18-1679018EBBCB}" dt="2024-05-08T18:00:52.904" v="198"/>
          <ac:picMkLst>
            <pc:docMk/>
            <pc:sldMk cId="1366482214" sldId="311"/>
            <ac:picMk id="22" creationId="{5C4E2B28-2C5F-2FA7-237D-8DF82B5C99DF}"/>
          </ac:picMkLst>
        </pc:picChg>
        <pc:picChg chg="add mod">
          <ac:chgData name="Strzyminski, Grzegorz" userId="0c1cb62d-c60a-4e4f-b918-a4b6f306529d" providerId="ADAL" clId="{E092D7A1-82EB-4D22-BB18-1679018EBBCB}" dt="2024-05-08T18:00:54.882" v="199"/>
          <ac:picMkLst>
            <pc:docMk/>
            <pc:sldMk cId="1366482214" sldId="311"/>
            <ac:picMk id="28" creationId="{BE9E1513-F0A2-A7BB-104A-088E1B830569}"/>
          </ac:picMkLst>
        </pc:picChg>
        <pc:picChg chg="add mod">
          <ac:chgData name="Strzyminski, Grzegorz" userId="0c1cb62d-c60a-4e4f-b918-a4b6f306529d" providerId="ADAL" clId="{E092D7A1-82EB-4D22-BB18-1679018EBBCB}" dt="2024-05-08T18:00:54.882" v="199"/>
          <ac:picMkLst>
            <pc:docMk/>
            <pc:sldMk cId="1366482214" sldId="311"/>
            <ac:picMk id="29" creationId="{33025E93-9AA3-BDFE-B249-3F6E07351D87}"/>
          </ac:picMkLst>
        </pc:picChg>
        <pc:picChg chg="add mod">
          <ac:chgData name="Strzyminski, Grzegorz" userId="0c1cb62d-c60a-4e4f-b918-a4b6f306529d" providerId="ADAL" clId="{E092D7A1-82EB-4D22-BB18-1679018EBBCB}" dt="2024-05-08T18:00:54.882" v="199"/>
          <ac:picMkLst>
            <pc:docMk/>
            <pc:sldMk cId="1366482214" sldId="311"/>
            <ac:picMk id="30" creationId="{CC46D153-1041-0A12-3F5C-3009A45A93A8}"/>
          </ac:picMkLst>
        </pc:picChg>
        <pc:picChg chg="add mod">
          <ac:chgData name="Strzyminski, Grzegorz" userId="0c1cb62d-c60a-4e4f-b918-a4b6f306529d" providerId="ADAL" clId="{E092D7A1-82EB-4D22-BB18-1679018EBBCB}" dt="2024-05-08T18:00:54.882" v="199"/>
          <ac:picMkLst>
            <pc:docMk/>
            <pc:sldMk cId="1366482214" sldId="311"/>
            <ac:picMk id="31" creationId="{28E62DA1-7929-0068-9604-9EAE8AD270C5}"/>
          </ac:picMkLst>
        </pc:picChg>
        <pc:picChg chg="add mod">
          <ac:chgData name="Strzyminski, Grzegorz" userId="0c1cb62d-c60a-4e4f-b918-a4b6f306529d" providerId="ADAL" clId="{E092D7A1-82EB-4D22-BB18-1679018EBBCB}" dt="2024-05-08T18:00:54.882" v="199"/>
          <ac:picMkLst>
            <pc:docMk/>
            <pc:sldMk cId="1366482214" sldId="311"/>
            <ac:picMk id="32" creationId="{680AEB11-57ED-9BE8-BA82-3CB680F4646E}"/>
          </ac:picMkLst>
        </pc:picChg>
      </pc:sldChg>
      <pc:sldChg chg="addSp delSp modSp add mod">
        <pc:chgData name="Strzyminski, Grzegorz" userId="0c1cb62d-c60a-4e4f-b918-a4b6f306529d" providerId="ADAL" clId="{E092D7A1-82EB-4D22-BB18-1679018EBBCB}" dt="2024-05-08T20:06:21.893" v="1900" actId="27636"/>
        <pc:sldMkLst>
          <pc:docMk/>
          <pc:sldMk cId="991710719" sldId="312"/>
        </pc:sldMkLst>
        <pc:spChg chg="add del mod modVis">
          <ac:chgData name="Strzyminski, Grzegorz" userId="0c1cb62d-c60a-4e4f-b918-a4b6f306529d" providerId="ADAL" clId="{E092D7A1-82EB-4D22-BB18-1679018EBBCB}" dt="2024-05-08T18:03:42.901" v="643"/>
          <ac:spMkLst>
            <pc:docMk/>
            <pc:sldMk cId="991710719" sldId="312"/>
            <ac:spMk id="3" creationId="{369C37EB-7AEE-1374-8C63-0F35355A0CCC}"/>
          </ac:spMkLst>
        </pc:spChg>
        <pc:spChg chg="mod">
          <ac:chgData name="Strzyminski, Grzegorz" userId="0c1cb62d-c60a-4e4f-b918-a4b6f306529d" providerId="ADAL" clId="{E092D7A1-82EB-4D22-BB18-1679018EBBCB}" dt="2024-05-08T18:03:54.967" v="809" actId="948"/>
          <ac:spMkLst>
            <pc:docMk/>
            <pc:sldMk cId="991710719" sldId="312"/>
            <ac:spMk id="4" creationId="{36E55460-8A90-5580-E513-0693E23AD7FC}"/>
          </ac:spMkLst>
        </pc:spChg>
        <pc:spChg chg="mod">
          <ac:chgData name="Strzyminski, Grzegorz" userId="0c1cb62d-c60a-4e4f-b918-a4b6f306529d" providerId="ADAL" clId="{E092D7A1-82EB-4D22-BB18-1679018EBBCB}" dt="2024-05-08T20:06:21.893" v="1900" actId="27636"/>
          <ac:spMkLst>
            <pc:docMk/>
            <pc:sldMk cId="991710719" sldId="312"/>
            <ac:spMk id="5" creationId="{C33592B9-9D08-4CC5-79E0-4715D66CE161}"/>
          </ac:spMkLst>
        </pc:spChg>
        <pc:spChg chg="add del mod modVis">
          <ac:chgData name="Strzyminski, Grzegorz" userId="0c1cb62d-c60a-4e4f-b918-a4b6f306529d" providerId="ADAL" clId="{E092D7A1-82EB-4D22-BB18-1679018EBBCB}" dt="2024-05-08T18:03:44.986" v="680"/>
          <ac:spMkLst>
            <pc:docMk/>
            <pc:sldMk cId="991710719" sldId="312"/>
            <ac:spMk id="6" creationId="{BFB1158F-8916-167D-E705-3EDCC83BBA1B}"/>
          </ac:spMkLst>
        </pc:spChg>
        <pc:spChg chg="add del mod modVis">
          <ac:chgData name="Strzyminski, Grzegorz" userId="0c1cb62d-c60a-4e4f-b918-a4b6f306529d" providerId="ADAL" clId="{E092D7A1-82EB-4D22-BB18-1679018EBBCB}" dt="2024-05-08T18:03:51.022" v="715"/>
          <ac:spMkLst>
            <pc:docMk/>
            <pc:sldMk cId="991710719" sldId="312"/>
            <ac:spMk id="7" creationId="{7B78B4D3-E8A7-B3C2-A83C-C4E130C455E6}"/>
          </ac:spMkLst>
        </pc:spChg>
        <pc:spChg chg="add del mod modVis">
          <ac:chgData name="Strzyminski, Grzegorz" userId="0c1cb62d-c60a-4e4f-b918-a4b6f306529d" providerId="ADAL" clId="{E092D7A1-82EB-4D22-BB18-1679018EBBCB}" dt="2024-05-08T18:03:52.372" v="745"/>
          <ac:spMkLst>
            <pc:docMk/>
            <pc:sldMk cId="991710719" sldId="312"/>
            <ac:spMk id="8" creationId="{C0D81F4B-D117-8F2A-0B6C-07F3E4FCA1BF}"/>
          </ac:spMkLst>
        </pc:spChg>
        <pc:spChg chg="add del mod modVis">
          <ac:chgData name="Strzyminski, Grzegorz" userId="0c1cb62d-c60a-4e4f-b918-a4b6f306529d" providerId="ADAL" clId="{E092D7A1-82EB-4D22-BB18-1679018EBBCB}" dt="2024-05-08T18:03:52.908" v="772"/>
          <ac:spMkLst>
            <pc:docMk/>
            <pc:sldMk cId="991710719" sldId="312"/>
            <ac:spMk id="9" creationId="{AA61077A-13D0-5FAE-0DBE-F14551FEF614}"/>
          </ac:spMkLst>
        </pc:spChg>
        <pc:spChg chg="add del mod modVis">
          <ac:chgData name="Strzyminski, Grzegorz" userId="0c1cb62d-c60a-4e4f-b918-a4b6f306529d" providerId="ADAL" clId="{E092D7A1-82EB-4D22-BB18-1679018EBBCB}" dt="2024-05-08T18:03:54.414" v="805"/>
          <ac:spMkLst>
            <pc:docMk/>
            <pc:sldMk cId="991710719" sldId="312"/>
            <ac:spMk id="10" creationId="{BB40484D-3F61-503B-CB6F-2CDC54BD6F4F}"/>
          </ac:spMkLst>
        </pc:spChg>
        <pc:spChg chg="add del mod modVis">
          <ac:chgData name="Strzyminski, Grzegorz" userId="0c1cb62d-c60a-4e4f-b918-a4b6f306529d" providerId="ADAL" clId="{E092D7A1-82EB-4D22-BB18-1679018EBBCB}" dt="2024-05-08T18:03:54.985" v="832"/>
          <ac:spMkLst>
            <pc:docMk/>
            <pc:sldMk cId="991710719" sldId="312"/>
            <ac:spMk id="11" creationId="{BCF4224F-B017-27AA-D3CA-0E9796057265}"/>
          </ac:spMkLst>
        </pc:spChg>
        <pc:graphicFrameChg chg="add mod ord modVis replST">
          <ac:chgData name="Strzyminski, Grzegorz" userId="0c1cb62d-c60a-4e4f-b918-a4b6f306529d" providerId="ADAL" clId="{E092D7A1-82EB-4D22-BB18-1679018EBBCB}" dt="2024-05-08T18:03:54.987" v="834"/>
          <ac:graphicFrameMkLst>
            <pc:docMk/>
            <pc:sldMk cId="991710719" sldId="312"/>
            <ac:graphicFrameMk id="2" creationId="{850F6B83-FAE7-CAEA-D06A-A5407EB396EA}"/>
          </ac:graphicFrameMkLst>
        </pc:graphicFrameChg>
      </pc:sldChg>
      <pc:sldChg chg="addSp delSp modSp add mod">
        <pc:chgData name="Strzyminski, Grzegorz" userId="0c1cb62d-c60a-4e4f-b918-a4b6f306529d" providerId="ADAL" clId="{E092D7A1-82EB-4D22-BB18-1679018EBBCB}" dt="2024-05-08T20:06:42.701" v="1939" actId="20577"/>
        <pc:sldMkLst>
          <pc:docMk/>
          <pc:sldMk cId="3602816033" sldId="313"/>
        </pc:sldMkLst>
        <pc:spChg chg="add del mod modVis">
          <ac:chgData name="Strzyminski, Grzegorz" userId="0c1cb62d-c60a-4e4f-b918-a4b6f306529d" providerId="ADAL" clId="{E092D7A1-82EB-4D22-BB18-1679018EBBCB}" dt="2024-05-08T19:59:28.472" v="872"/>
          <ac:spMkLst>
            <pc:docMk/>
            <pc:sldMk cId="3602816033" sldId="313"/>
            <ac:spMk id="2" creationId="{01AF2E9D-3E73-10D6-03B8-FB9B535C1252}"/>
          </ac:spMkLst>
        </pc:spChg>
        <pc:spChg chg="mod">
          <ac:chgData name="Strzyminski, Grzegorz" userId="0c1cb62d-c60a-4e4f-b918-a4b6f306529d" providerId="ADAL" clId="{E092D7A1-82EB-4D22-BB18-1679018EBBCB}" dt="2024-05-08T20:06:35.763" v="1904" actId="948"/>
          <ac:spMkLst>
            <pc:docMk/>
            <pc:sldMk cId="3602816033" sldId="313"/>
            <ac:spMk id="4" creationId="{36E55460-8A90-5580-E513-0693E23AD7FC}"/>
          </ac:spMkLst>
        </pc:spChg>
        <pc:spChg chg="del">
          <ac:chgData name="Strzyminski, Grzegorz" userId="0c1cb62d-c60a-4e4f-b918-a4b6f306529d" providerId="ADAL" clId="{E092D7A1-82EB-4D22-BB18-1679018EBBCB}" dt="2024-05-08T19:59:36.121" v="922" actId="478"/>
          <ac:spMkLst>
            <pc:docMk/>
            <pc:sldMk cId="3602816033" sldId="313"/>
            <ac:spMk id="5" creationId="{C33592B9-9D08-4CC5-79E0-4715D66CE161}"/>
          </ac:spMkLst>
        </pc:spChg>
        <pc:spChg chg="add del mod modVis">
          <ac:chgData name="Strzyminski, Grzegorz" userId="0c1cb62d-c60a-4e4f-b918-a4b6f306529d" providerId="ADAL" clId="{E092D7A1-82EB-4D22-BB18-1679018EBBCB}" dt="2024-05-08T19:59:30.008" v="919"/>
          <ac:spMkLst>
            <pc:docMk/>
            <pc:sldMk cId="3602816033" sldId="313"/>
            <ac:spMk id="6" creationId="{3494A16B-4932-CC33-DBBA-B6D31D7368A6}"/>
          </ac:spMkLst>
        </pc:spChg>
        <pc:spChg chg="add del mod">
          <ac:chgData name="Strzyminski, Grzegorz" userId="0c1cb62d-c60a-4e4f-b918-a4b6f306529d" providerId="ADAL" clId="{E092D7A1-82EB-4D22-BB18-1679018EBBCB}" dt="2024-05-08T19:59:37.597" v="923" actId="478"/>
          <ac:spMkLst>
            <pc:docMk/>
            <pc:sldMk cId="3602816033" sldId="313"/>
            <ac:spMk id="8" creationId="{97546DCC-0494-247B-B84A-0FBF033F2209}"/>
          </ac:spMkLst>
        </pc:spChg>
        <pc:spChg chg="add del mod">
          <ac:chgData name="Strzyminski, Grzegorz" userId="0c1cb62d-c60a-4e4f-b918-a4b6f306529d" providerId="ADAL" clId="{E092D7A1-82EB-4D22-BB18-1679018EBBCB}" dt="2024-05-08T19:59:41.582" v="925"/>
          <ac:spMkLst>
            <pc:docMk/>
            <pc:sldMk cId="3602816033" sldId="313"/>
            <ac:spMk id="9" creationId="{F0FF0A25-0F59-B28E-E49C-68A9BFB398BC}"/>
          </ac:spMkLst>
        </pc:spChg>
        <pc:spChg chg="add del mod">
          <ac:chgData name="Strzyminski, Grzegorz" userId="0c1cb62d-c60a-4e4f-b918-a4b6f306529d" providerId="ADAL" clId="{E092D7A1-82EB-4D22-BB18-1679018EBBCB}" dt="2024-05-08T19:59:41.582" v="925"/>
          <ac:spMkLst>
            <pc:docMk/>
            <pc:sldMk cId="3602816033" sldId="313"/>
            <ac:spMk id="13" creationId="{20A53170-BE9C-77FB-2DB4-C00B52CB8CB8}"/>
          </ac:spMkLst>
        </pc:spChg>
        <pc:spChg chg="add mod">
          <ac:chgData name="Strzyminski, Grzegorz" userId="0c1cb62d-c60a-4e4f-b918-a4b6f306529d" providerId="ADAL" clId="{E092D7A1-82EB-4D22-BB18-1679018EBBCB}" dt="2024-05-08T20:06:39.489" v="1934" actId="20577"/>
          <ac:spMkLst>
            <pc:docMk/>
            <pc:sldMk cId="3602816033" sldId="313"/>
            <ac:spMk id="14" creationId="{596FDCC9-6288-0A07-C7EE-FFB9E6D56BF9}"/>
          </ac:spMkLst>
        </pc:spChg>
        <pc:spChg chg="add mod">
          <ac:chgData name="Strzyminski, Grzegorz" userId="0c1cb62d-c60a-4e4f-b918-a4b6f306529d" providerId="ADAL" clId="{E092D7A1-82EB-4D22-BB18-1679018EBBCB}" dt="2024-05-08T20:06:42.701" v="1939" actId="20577"/>
          <ac:spMkLst>
            <pc:docMk/>
            <pc:sldMk cId="3602816033" sldId="313"/>
            <ac:spMk id="18" creationId="{9271F7A4-3B79-EE6B-2F61-FFAE3467BA7A}"/>
          </ac:spMkLst>
        </pc:spChg>
        <pc:spChg chg="add del mod modVis">
          <ac:chgData name="Strzyminski, Grzegorz" userId="0c1cb62d-c60a-4e4f-b918-a4b6f306529d" providerId="ADAL" clId="{E092D7A1-82EB-4D22-BB18-1679018EBBCB}" dt="2024-05-08T20:06:35.778" v="1927"/>
          <ac:spMkLst>
            <pc:docMk/>
            <pc:sldMk cId="3602816033" sldId="313"/>
            <ac:spMk id="19" creationId="{45D153A4-0DFA-436F-0E03-E60FFD3150B2}"/>
          </ac:spMkLst>
        </pc:spChg>
        <pc:graphicFrameChg chg="add mod ord modVis replST">
          <ac:chgData name="Strzyminski, Grzegorz" userId="0c1cb62d-c60a-4e4f-b918-a4b6f306529d" providerId="ADAL" clId="{E092D7A1-82EB-4D22-BB18-1679018EBBCB}" dt="2024-05-08T20:06:35.780" v="1929"/>
          <ac:graphicFrameMkLst>
            <pc:docMk/>
            <pc:sldMk cId="3602816033" sldId="313"/>
            <ac:graphicFrameMk id="3" creationId="{5B495FD0-1899-E8B7-2FD1-6D4B98DB1ED8}"/>
          </ac:graphicFrameMkLst>
        </pc:graphicFrameChg>
        <pc:picChg chg="add del mod">
          <ac:chgData name="Strzyminski, Grzegorz" userId="0c1cb62d-c60a-4e4f-b918-a4b6f306529d" providerId="ADAL" clId="{E092D7A1-82EB-4D22-BB18-1679018EBBCB}" dt="2024-05-08T19:59:41.582" v="925"/>
          <ac:picMkLst>
            <pc:docMk/>
            <pc:sldMk cId="3602816033" sldId="313"/>
            <ac:picMk id="11" creationId="{543F2BD2-7DCA-B998-86E4-F9D2E49A8179}"/>
          </ac:picMkLst>
        </pc:picChg>
        <pc:picChg chg="add del mod">
          <ac:chgData name="Strzyminski, Grzegorz" userId="0c1cb62d-c60a-4e4f-b918-a4b6f306529d" providerId="ADAL" clId="{E092D7A1-82EB-4D22-BB18-1679018EBBCB}" dt="2024-05-08T19:59:41.582" v="925"/>
          <ac:picMkLst>
            <pc:docMk/>
            <pc:sldMk cId="3602816033" sldId="313"/>
            <ac:picMk id="12" creationId="{A9587FBC-211C-09FD-0F70-B7F10282EA72}"/>
          </ac:picMkLst>
        </pc:picChg>
        <pc:picChg chg="add mod">
          <ac:chgData name="Strzyminski, Grzegorz" userId="0c1cb62d-c60a-4e4f-b918-a4b6f306529d" providerId="ADAL" clId="{E092D7A1-82EB-4D22-BB18-1679018EBBCB}" dt="2024-05-08T19:59:48.870" v="927" actId="1076"/>
          <ac:picMkLst>
            <pc:docMk/>
            <pc:sldMk cId="3602816033" sldId="313"/>
            <ac:picMk id="16" creationId="{40B613FD-927A-EE39-34D1-618259B3033A}"/>
          </ac:picMkLst>
        </pc:picChg>
        <pc:picChg chg="add mod">
          <ac:chgData name="Strzyminski, Grzegorz" userId="0c1cb62d-c60a-4e4f-b918-a4b6f306529d" providerId="ADAL" clId="{E092D7A1-82EB-4D22-BB18-1679018EBBCB}" dt="2024-05-08T19:59:48.870" v="927" actId="1076"/>
          <ac:picMkLst>
            <pc:docMk/>
            <pc:sldMk cId="3602816033" sldId="313"/>
            <ac:picMk id="17" creationId="{8504A0A6-8D20-47EF-66ED-E6CB30147D4E}"/>
          </ac:picMkLst>
        </pc:picChg>
        <pc:cxnChg chg="add del mod">
          <ac:chgData name="Strzyminski, Grzegorz" userId="0c1cb62d-c60a-4e4f-b918-a4b6f306529d" providerId="ADAL" clId="{E092D7A1-82EB-4D22-BB18-1679018EBBCB}" dt="2024-05-08T19:59:41.582" v="925"/>
          <ac:cxnSpMkLst>
            <pc:docMk/>
            <pc:sldMk cId="3602816033" sldId="313"/>
            <ac:cxnSpMk id="10" creationId="{1777069E-D144-4E07-9FC8-6FB7F0AE9444}"/>
          </ac:cxnSpMkLst>
        </pc:cxnChg>
        <pc:cxnChg chg="add mod">
          <ac:chgData name="Strzyminski, Grzegorz" userId="0c1cb62d-c60a-4e4f-b918-a4b6f306529d" providerId="ADAL" clId="{E092D7A1-82EB-4D22-BB18-1679018EBBCB}" dt="2024-05-08T19:59:48.870" v="927" actId="1076"/>
          <ac:cxnSpMkLst>
            <pc:docMk/>
            <pc:sldMk cId="3602816033" sldId="313"/>
            <ac:cxnSpMk id="15" creationId="{BDCC99AE-7790-020D-1BAA-A6AE1526BE5E}"/>
          </ac:cxnSpMkLst>
        </pc:cxnChg>
      </pc:sldChg>
      <pc:sldChg chg="addSp delSp modSp add mod">
        <pc:chgData name="Strzyminski, Grzegorz" userId="0c1cb62d-c60a-4e4f-b918-a4b6f306529d" providerId="ADAL" clId="{E092D7A1-82EB-4D22-BB18-1679018EBBCB}" dt="2024-05-08T20:07:07.315" v="2096"/>
        <pc:sldMkLst>
          <pc:docMk/>
          <pc:sldMk cId="976782851" sldId="314"/>
        </pc:sldMkLst>
        <pc:spChg chg="add del mod modVis">
          <ac:chgData name="Strzyminski, Grzegorz" userId="0c1cb62d-c60a-4e4f-b918-a4b6f306529d" providerId="ADAL" clId="{E092D7A1-82EB-4D22-BB18-1679018EBBCB}" dt="2024-05-08T20:00:56.060" v="981"/>
          <ac:spMkLst>
            <pc:docMk/>
            <pc:sldMk cId="976782851" sldId="314"/>
            <ac:spMk id="2" creationId="{090CAB49-5D23-3C9D-6DAC-2E03FA3A9106}"/>
          </ac:spMkLst>
        </pc:spChg>
        <pc:spChg chg="mod">
          <ac:chgData name="Strzyminski, Grzegorz" userId="0c1cb62d-c60a-4e4f-b918-a4b6f306529d" providerId="ADAL" clId="{E092D7A1-82EB-4D22-BB18-1679018EBBCB}" dt="2024-05-08T20:07:07.311" v="2092" actId="948"/>
          <ac:spMkLst>
            <pc:docMk/>
            <pc:sldMk cId="976782851" sldId="314"/>
            <ac:spMk id="4" creationId="{36E55460-8A90-5580-E513-0693E23AD7FC}"/>
          </ac:spMkLst>
        </pc:spChg>
        <pc:spChg chg="del">
          <ac:chgData name="Strzyminski, Grzegorz" userId="0c1cb62d-c60a-4e4f-b918-a4b6f306529d" providerId="ADAL" clId="{E092D7A1-82EB-4D22-BB18-1679018EBBCB}" dt="2024-05-08T20:01:01.999" v="1027" actId="478"/>
          <ac:spMkLst>
            <pc:docMk/>
            <pc:sldMk cId="976782851" sldId="314"/>
            <ac:spMk id="5" creationId="{C33592B9-9D08-4CC5-79E0-4715D66CE161}"/>
          </ac:spMkLst>
        </pc:spChg>
        <pc:spChg chg="add del mod modVis">
          <ac:chgData name="Strzyminski, Grzegorz" userId="0c1cb62d-c60a-4e4f-b918-a4b6f306529d" providerId="ADAL" clId="{E092D7A1-82EB-4D22-BB18-1679018EBBCB}" dt="2024-05-08T20:00:56.987" v="1024"/>
          <ac:spMkLst>
            <pc:docMk/>
            <pc:sldMk cId="976782851" sldId="314"/>
            <ac:spMk id="6" creationId="{68E2BC41-305B-92CB-F86B-CE34AB658F84}"/>
          </ac:spMkLst>
        </pc:spChg>
        <pc:spChg chg="add del mod">
          <ac:chgData name="Strzyminski, Grzegorz" userId="0c1cb62d-c60a-4e4f-b918-a4b6f306529d" providerId="ADAL" clId="{E092D7A1-82EB-4D22-BB18-1679018EBBCB}" dt="2024-05-08T20:01:04.142" v="1028" actId="478"/>
          <ac:spMkLst>
            <pc:docMk/>
            <pc:sldMk cId="976782851" sldId="314"/>
            <ac:spMk id="8" creationId="{1336EEF1-DB4B-3FC1-E9A0-05C4E897A0A6}"/>
          </ac:spMkLst>
        </pc:spChg>
        <pc:spChg chg="add mod">
          <ac:chgData name="Strzyminski, Grzegorz" userId="0c1cb62d-c60a-4e4f-b918-a4b6f306529d" providerId="ADAL" clId="{E092D7A1-82EB-4D22-BB18-1679018EBBCB}" dt="2024-05-08T20:01:16.255" v="1033" actId="1076"/>
          <ac:spMkLst>
            <pc:docMk/>
            <pc:sldMk cId="976782851" sldId="314"/>
            <ac:spMk id="9" creationId="{F396F4F6-EEF1-7B52-4468-79C5661FFFDB}"/>
          </ac:spMkLst>
        </pc:spChg>
        <pc:spChg chg="add del mod modVis">
          <ac:chgData name="Strzyminski, Grzegorz" userId="0c1cb62d-c60a-4e4f-b918-a4b6f306529d" providerId="ADAL" clId="{E092D7A1-82EB-4D22-BB18-1679018EBBCB}" dt="2024-05-08T20:06:52.653" v="1982"/>
          <ac:spMkLst>
            <pc:docMk/>
            <pc:sldMk cId="976782851" sldId="314"/>
            <ac:spMk id="10" creationId="{F70100C7-B060-FF48-CD75-D11F8C482093}"/>
          </ac:spMkLst>
        </pc:spChg>
        <pc:spChg chg="add del mod modVis">
          <ac:chgData name="Strzyminski, Grzegorz" userId="0c1cb62d-c60a-4e4f-b918-a4b6f306529d" providerId="ADAL" clId="{E092D7A1-82EB-4D22-BB18-1679018EBBCB}" dt="2024-05-08T20:06:56.224" v="2009"/>
          <ac:spMkLst>
            <pc:docMk/>
            <pc:sldMk cId="976782851" sldId="314"/>
            <ac:spMk id="11" creationId="{7E2D32D6-86F0-2D1B-3AD1-6D31183A82D3}"/>
          </ac:spMkLst>
        </pc:spChg>
        <pc:spChg chg="add del mod modVis">
          <ac:chgData name="Strzyminski, Grzegorz" userId="0c1cb62d-c60a-4e4f-b918-a4b6f306529d" providerId="ADAL" clId="{E092D7A1-82EB-4D22-BB18-1679018EBBCB}" dt="2024-05-08T20:06:58.063" v="2059" actId="962"/>
          <ac:spMkLst>
            <pc:docMk/>
            <pc:sldMk cId="976782851" sldId="314"/>
            <ac:spMk id="12" creationId="{322B8370-69B8-4F96-C384-B771B56CAF86}"/>
          </ac:spMkLst>
        </pc:spChg>
        <pc:spChg chg="add del mod modVis">
          <ac:chgData name="Strzyminski, Grzegorz" userId="0c1cb62d-c60a-4e4f-b918-a4b6f306529d" providerId="ADAL" clId="{E092D7A1-82EB-4D22-BB18-1679018EBBCB}" dt="2024-05-08T20:07:04.090" v="2088"/>
          <ac:spMkLst>
            <pc:docMk/>
            <pc:sldMk cId="976782851" sldId="314"/>
            <ac:spMk id="13" creationId="{D561C191-42E3-E2CF-9A51-08857C8D9575}"/>
          </ac:spMkLst>
        </pc:spChg>
        <pc:graphicFrameChg chg="add mod ord modVis replST">
          <ac:chgData name="Strzyminski, Grzegorz" userId="0c1cb62d-c60a-4e4f-b918-a4b6f306529d" providerId="ADAL" clId="{E092D7A1-82EB-4D22-BB18-1679018EBBCB}" dt="2024-05-08T20:07:07.315" v="2096"/>
          <ac:graphicFrameMkLst>
            <pc:docMk/>
            <pc:sldMk cId="976782851" sldId="314"/>
            <ac:graphicFrameMk id="3" creationId="{2E2FA294-1D4D-83AA-D0F6-E2148217786B}"/>
          </ac:graphicFrameMkLst>
        </pc:graphicFrameChg>
      </pc:sldChg>
      <pc:sldChg chg="addSp delSp modSp add mod">
        <pc:chgData name="Strzyminski, Grzegorz" userId="0c1cb62d-c60a-4e4f-b918-a4b6f306529d" providerId="ADAL" clId="{E092D7A1-82EB-4D22-BB18-1679018EBBCB}" dt="2024-05-08T20:07:17.152" v="2105" actId="20577"/>
        <pc:sldMkLst>
          <pc:docMk/>
          <pc:sldMk cId="2950309019" sldId="315"/>
        </pc:sldMkLst>
        <pc:spChg chg="add del mod modVis">
          <ac:chgData name="Strzyminski, Grzegorz" userId="0c1cb62d-c60a-4e4f-b918-a4b6f306529d" providerId="ADAL" clId="{E092D7A1-82EB-4D22-BB18-1679018EBBCB}" dt="2024-05-08T20:01:28.518" v="1069"/>
          <ac:spMkLst>
            <pc:docMk/>
            <pc:sldMk cId="2950309019" sldId="315"/>
            <ac:spMk id="2" creationId="{0D3BEF14-D908-871B-4C0B-4860E951AD63}"/>
          </ac:spMkLst>
        </pc:spChg>
        <pc:spChg chg="mod">
          <ac:chgData name="Strzyminski, Grzegorz" userId="0c1cb62d-c60a-4e4f-b918-a4b6f306529d" providerId="ADAL" clId="{E092D7A1-82EB-4D22-BB18-1679018EBBCB}" dt="2024-05-08T20:01:28.501" v="1046" actId="948"/>
          <ac:spMkLst>
            <pc:docMk/>
            <pc:sldMk cId="2950309019" sldId="315"/>
            <ac:spMk id="4" creationId="{36E55460-8A90-5580-E513-0693E23AD7FC}"/>
          </ac:spMkLst>
        </pc:spChg>
        <pc:spChg chg="del">
          <ac:chgData name="Strzyminski, Grzegorz" userId="0c1cb62d-c60a-4e4f-b918-a4b6f306529d" providerId="ADAL" clId="{E092D7A1-82EB-4D22-BB18-1679018EBBCB}" dt="2024-05-08T20:01:29.678" v="1085" actId="478"/>
          <ac:spMkLst>
            <pc:docMk/>
            <pc:sldMk cId="2950309019" sldId="315"/>
            <ac:spMk id="5" creationId="{C33592B9-9D08-4CC5-79E0-4715D66CE161}"/>
          </ac:spMkLst>
        </pc:spChg>
        <pc:spChg chg="add del mod">
          <ac:chgData name="Strzyminski, Grzegorz" userId="0c1cb62d-c60a-4e4f-b918-a4b6f306529d" providerId="ADAL" clId="{E092D7A1-82EB-4D22-BB18-1679018EBBCB}" dt="2024-05-08T20:01:31.660" v="1086" actId="478"/>
          <ac:spMkLst>
            <pc:docMk/>
            <pc:sldMk cId="2950309019" sldId="315"/>
            <ac:spMk id="7" creationId="{203DBD02-ACEF-8F13-0F29-B45A5D8C7CDF}"/>
          </ac:spMkLst>
        </pc:spChg>
        <pc:spChg chg="add mod">
          <ac:chgData name="Strzyminski, Grzegorz" userId="0c1cb62d-c60a-4e4f-b918-a4b6f306529d" providerId="ADAL" clId="{E092D7A1-82EB-4D22-BB18-1679018EBBCB}" dt="2024-05-08T20:07:14.814" v="2101" actId="20577"/>
          <ac:spMkLst>
            <pc:docMk/>
            <pc:sldMk cId="2950309019" sldId="315"/>
            <ac:spMk id="11" creationId="{41D34FB3-0800-9BFF-9177-1BF32D6A78A2}"/>
          </ac:spMkLst>
        </pc:spChg>
        <pc:spChg chg="add mod">
          <ac:chgData name="Strzyminski, Grzegorz" userId="0c1cb62d-c60a-4e4f-b918-a4b6f306529d" providerId="ADAL" clId="{E092D7A1-82EB-4D22-BB18-1679018EBBCB}" dt="2024-05-08T20:07:17.152" v="2105" actId="20577"/>
          <ac:spMkLst>
            <pc:docMk/>
            <pc:sldMk cId="2950309019" sldId="315"/>
            <ac:spMk id="12" creationId="{DA82448D-C80F-93FB-9F35-FC5E69A1602F}"/>
          </ac:spMkLst>
        </pc:spChg>
        <pc:graphicFrameChg chg="add mod ord modVis replST">
          <ac:chgData name="Strzyminski, Grzegorz" userId="0c1cb62d-c60a-4e4f-b918-a4b6f306529d" providerId="ADAL" clId="{E092D7A1-82EB-4D22-BB18-1679018EBBCB}" dt="2024-05-08T20:01:28.539" v="1084"/>
          <ac:graphicFrameMkLst>
            <pc:docMk/>
            <pc:sldMk cId="2950309019" sldId="315"/>
            <ac:graphicFrameMk id="3" creationId="{9A9FB577-02CF-BEAA-FD29-C0AE9AAE5757}"/>
          </ac:graphicFrameMkLst>
        </pc:graphicFrameChg>
        <pc:picChg chg="add mod">
          <ac:chgData name="Strzyminski, Grzegorz" userId="0c1cb62d-c60a-4e4f-b918-a4b6f306529d" providerId="ADAL" clId="{E092D7A1-82EB-4D22-BB18-1679018EBBCB}" dt="2024-05-08T20:01:46.183" v="1089" actId="1076"/>
          <ac:picMkLst>
            <pc:docMk/>
            <pc:sldMk cId="2950309019" sldId="315"/>
            <ac:picMk id="9" creationId="{AFC3A6DF-8044-0797-BCC2-05C4C33F2C5D}"/>
          </ac:picMkLst>
        </pc:picChg>
        <pc:picChg chg="add mod">
          <ac:chgData name="Strzyminski, Grzegorz" userId="0c1cb62d-c60a-4e4f-b918-a4b6f306529d" providerId="ADAL" clId="{E092D7A1-82EB-4D22-BB18-1679018EBBCB}" dt="2024-05-08T20:01:46.183" v="1089" actId="1076"/>
          <ac:picMkLst>
            <pc:docMk/>
            <pc:sldMk cId="2950309019" sldId="315"/>
            <ac:picMk id="10" creationId="{77A5C224-9F25-6D64-1974-D23F8BD22CAE}"/>
          </ac:picMkLst>
        </pc:picChg>
        <pc:cxnChg chg="add mod">
          <ac:chgData name="Strzyminski, Grzegorz" userId="0c1cb62d-c60a-4e4f-b918-a4b6f306529d" providerId="ADAL" clId="{E092D7A1-82EB-4D22-BB18-1679018EBBCB}" dt="2024-05-08T20:01:46.183" v="1089" actId="1076"/>
          <ac:cxnSpMkLst>
            <pc:docMk/>
            <pc:sldMk cId="2950309019" sldId="315"/>
            <ac:cxnSpMk id="8" creationId="{F466D268-AAC3-3615-9DC2-A7F04662B96B}"/>
          </ac:cxnSpMkLst>
        </pc:cxnChg>
      </pc:sldChg>
      <pc:sldChg chg="addSp delSp modSp add mod">
        <pc:chgData name="Strzyminski, Grzegorz" userId="0c1cb62d-c60a-4e4f-b918-a4b6f306529d" providerId="ADAL" clId="{E092D7A1-82EB-4D22-BB18-1679018EBBCB}" dt="2024-05-08T20:07:27.305" v="2202"/>
        <pc:sldMkLst>
          <pc:docMk/>
          <pc:sldMk cId="745971605" sldId="316"/>
        </pc:sldMkLst>
        <pc:spChg chg="add del mod modVis">
          <ac:chgData name="Strzyminski, Grzegorz" userId="0c1cb62d-c60a-4e4f-b918-a4b6f306529d" providerId="ADAL" clId="{E092D7A1-82EB-4D22-BB18-1679018EBBCB}" dt="2024-05-08T20:02:04.608" v="1123"/>
          <ac:spMkLst>
            <pc:docMk/>
            <pc:sldMk cId="745971605" sldId="316"/>
            <ac:spMk id="2" creationId="{73CEFBAC-3A8E-5F5A-C22D-DD9D48D885D2}"/>
          </ac:spMkLst>
        </pc:spChg>
        <pc:spChg chg="mod">
          <ac:chgData name="Strzyminski, Grzegorz" userId="0c1cb62d-c60a-4e4f-b918-a4b6f306529d" providerId="ADAL" clId="{E092D7A1-82EB-4D22-BB18-1679018EBBCB}" dt="2024-05-08T20:07:27.282" v="2177" actId="948"/>
          <ac:spMkLst>
            <pc:docMk/>
            <pc:sldMk cId="745971605" sldId="316"/>
            <ac:spMk id="4" creationId="{36E55460-8A90-5580-E513-0693E23AD7FC}"/>
          </ac:spMkLst>
        </pc:spChg>
        <pc:spChg chg="del">
          <ac:chgData name="Strzyminski, Grzegorz" userId="0c1cb62d-c60a-4e4f-b918-a4b6f306529d" providerId="ADAL" clId="{E092D7A1-82EB-4D22-BB18-1679018EBBCB}" dt="2024-05-08T20:02:10.832" v="1176" actId="478"/>
          <ac:spMkLst>
            <pc:docMk/>
            <pc:sldMk cId="745971605" sldId="316"/>
            <ac:spMk id="5" creationId="{C33592B9-9D08-4CC5-79E0-4715D66CE161}"/>
          </ac:spMkLst>
        </pc:spChg>
        <pc:spChg chg="add del mod modVis">
          <ac:chgData name="Strzyminski, Grzegorz" userId="0c1cb62d-c60a-4e4f-b918-a4b6f306529d" providerId="ADAL" clId="{E092D7A1-82EB-4D22-BB18-1679018EBBCB}" dt="2024-05-08T20:02:06.491" v="1173"/>
          <ac:spMkLst>
            <pc:docMk/>
            <pc:sldMk cId="745971605" sldId="316"/>
            <ac:spMk id="6" creationId="{641C682A-67D2-7A32-BD18-760107240B43}"/>
          </ac:spMkLst>
        </pc:spChg>
        <pc:spChg chg="add del mod">
          <ac:chgData name="Strzyminski, Grzegorz" userId="0c1cb62d-c60a-4e4f-b918-a4b6f306529d" providerId="ADAL" clId="{E092D7A1-82EB-4D22-BB18-1679018EBBCB}" dt="2024-05-08T20:02:12.319" v="1177" actId="478"/>
          <ac:spMkLst>
            <pc:docMk/>
            <pc:sldMk cId="745971605" sldId="316"/>
            <ac:spMk id="8" creationId="{5F8D31F4-F038-B785-FBD8-EE433CB81268}"/>
          </ac:spMkLst>
        </pc:spChg>
        <pc:spChg chg="add mod">
          <ac:chgData name="Strzyminski, Grzegorz" userId="0c1cb62d-c60a-4e4f-b918-a4b6f306529d" providerId="ADAL" clId="{E092D7A1-82EB-4D22-BB18-1679018EBBCB}" dt="2024-05-08T20:02:19.001" v="1181" actId="1076"/>
          <ac:spMkLst>
            <pc:docMk/>
            <pc:sldMk cId="745971605" sldId="316"/>
            <ac:spMk id="9" creationId="{FB0CD72D-F27E-CBEC-DFF6-5F1F67356A36}"/>
          </ac:spMkLst>
        </pc:spChg>
        <pc:spChg chg="add del mod modVis">
          <ac:chgData name="Strzyminski, Grzegorz" userId="0c1cb62d-c60a-4e4f-b918-a4b6f306529d" providerId="ADAL" clId="{E092D7A1-82EB-4D22-BB18-1679018EBBCB}" dt="2024-05-08T20:07:24.862" v="2141"/>
          <ac:spMkLst>
            <pc:docMk/>
            <pc:sldMk cId="745971605" sldId="316"/>
            <ac:spMk id="10" creationId="{EF3727C9-B5DC-4A80-DCE0-2A24FB4C3F7D}"/>
          </ac:spMkLst>
        </pc:spChg>
        <pc:spChg chg="add del mod modVis">
          <ac:chgData name="Strzyminski, Grzegorz" userId="0c1cb62d-c60a-4e4f-b918-a4b6f306529d" providerId="ADAL" clId="{E092D7A1-82EB-4D22-BB18-1679018EBBCB}" dt="2024-05-08T20:07:26.492" v="2172"/>
          <ac:spMkLst>
            <pc:docMk/>
            <pc:sldMk cId="745971605" sldId="316"/>
            <ac:spMk id="11" creationId="{0A7367E8-9987-22F3-24A7-4587BA771531}"/>
          </ac:spMkLst>
        </pc:spChg>
        <pc:spChg chg="add del mod modVis">
          <ac:chgData name="Strzyminski, Grzegorz" userId="0c1cb62d-c60a-4e4f-b918-a4b6f306529d" providerId="ADAL" clId="{E092D7A1-82EB-4D22-BB18-1679018EBBCB}" dt="2024-05-08T20:07:27.302" v="2200"/>
          <ac:spMkLst>
            <pc:docMk/>
            <pc:sldMk cId="745971605" sldId="316"/>
            <ac:spMk id="12" creationId="{EA3BCB2E-D27E-438C-7DD8-3D5F868D2733}"/>
          </ac:spMkLst>
        </pc:spChg>
        <pc:graphicFrameChg chg="add mod ord modVis replST">
          <ac:chgData name="Strzyminski, Grzegorz" userId="0c1cb62d-c60a-4e4f-b918-a4b6f306529d" providerId="ADAL" clId="{E092D7A1-82EB-4D22-BB18-1679018EBBCB}" dt="2024-05-08T20:07:27.305" v="2202"/>
          <ac:graphicFrameMkLst>
            <pc:docMk/>
            <pc:sldMk cId="745971605" sldId="316"/>
            <ac:graphicFrameMk id="3" creationId="{8433FBE9-6BFC-77D2-FC14-10E0ACD096BF}"/>
          </ac:graphicFrameMkLst>
        </pc:graphicFrameChg>
      </pc:sldChg>
      <pc:sldChg chg="addSp delSp modSp add mod">
        <pc:chgData name="Strzyminski, Grzegorz" userId="0c1cb62d-c60a-4e4f-b918-a4b6f306529d" providerId="ADAL" clId="{E092D7A1-82EB-4D22-BB18-1679018EBBCB}" dt="2024-05-08T20:03:15.748" v="1330" actId="1076"/>
        <pc:sldMkLst>
          <pc:docMk/>
          <pc:sldMk cId="4175591632" sldId="317"/>
        </pc:sldMkLst>
        <pc:spChg chg="mod">
          <ac:chgData name="Strzyminski, Grzegorz" userId="0c1cb62d-c60a-4e4f-b918-a4b6f306529d" providerId="ADAL" clId="{E092D7A1-82EB-4D22-BB18-1679018EBBCB}" dt="2024-05-08T20:03:05.728" v="1309" actId="948"/>
          <ac:spMkLst>
            <pc:docMk/>
            <pc:sldMk cId="4175591632" sldId="317"/>
            <ac:spMk id="4" creationId="{36E55460-8A90-5580-E513-0693E23AD7FC}"/>
          </ac:spMkLst>
        </pc:spChg>
        <pc:spChg chg="del">
          <ac:chgData name="Strzyminski, Grzegorz" userId="0c1cb62d-c60a-4e4f-b918-a4b6f306529d" providerId="ADAL" clId="{E092D7A1-82EB-4D22-BB18-1679018EBBCB}" dt="2024-05-08T20:03:09.426" v="1327" actId="478"/>
          <ac:spMkLst>
            <pc:docMk/>
            <pc:sldMk cId="4175591632" sldId="317"/>
            <ac:spMk id="5" creationId="{C33592B9-9D08-4CC5-79E0-4715D66CE161}"/>
          </ac:spMkLst>
        </pc:spChg>
        <pc:spChg chg="add del mod">
          <ac:chgData name="Strzyminski, Grzegorz" userId="0c1cb62d-c60a-4e4f-b918-a4b6f306529d" providerId="ADAL" clId="{E092D7A1-82EB-4D22-BB18-1679018EBBCB}" dt="2024-05-08T20:03:11.168" v="1328" actId="478"/>
          <ac:spMkLst>
            <pc:docMk/>
            <pc:sldMk cId="4175591632" sldId="317"/>
            <ac:spMk id="6" creationId="{F1E5296C-80DE-5BC8-C55A-7E3A22476428}"/>
          </ac:spMkLst>
        </pc:spChg>
        <pc:spChg chg="add mod">
          <ac:chgData name="Strzyminski, Grzegorz" userId="0c1cb62d-c60a-4e4f-b918-a4b6f306529d" providerId="ADAL" clId="{E092D7A1-82EB-4D22-BB18-1679018EBBCB}" dt="2024-05-08T20:03:15.748" v="1330" actId="1076"/>
          <ac:spMkLst>
            <pc:docMk/>
            <pc:sldMk cId="4175591632" sldId="317"/>
            <ac:spMk id="7" creationId="{DC3EE34E-63DF-0E82-F36E-8EEF7B061162}"/>
          </ac:spMkLst>
        </pc:spChg>
        <pc:graphicFrameChg chg="add mod ord modVis replST">
          <ac:chgData name="Strzyminski, Grzegorz" userId="0c1cb62d-c60a-4e4f-b918-a4b6f306529d" providerId="ADAL" clId="{E092D7A1-82EB-4D22-BB18-1679018EBBCB}" dt="2024-05-08T20:03:05.749" v="1326"/>
          <ac:graphicFrameMkLst>
            <pc:docMk/>
            <pc:sldMk cId="4175591632" sldId="317"/>
            <ac:graphicFrameMk id="2" creationId="{A49C8691-9B24-7B7B-1740-4707FE995A0A}"/>
          </ac:graphicFrameMkLst>
        </pc:graphicFrameChg>
      </pc:sldChg>
      <pc:sldChg chg="addSp delSp modSp add mod">
        <pc:chgData name="Strzyminski, Grzegorz" userId="0c1cb62d-c60a-4e4f-b918-a4b6f306529d" providerId="ADAL" clId="{E092D7A1-82EB-4D22-BB18-1679018EBBCB}" dt="2024-05-08T20:04:03.679" v="1438"/>
        <pc:sldMkLst>
          <pc:docMk/>
          <pc:sldMk cId="3747873706" sldId="318"/>
        </pc:sldMkLst>
        <pc:spChg chg="mod">
          <ac:chgData name="Strzyminski, Grzegorz" userId="0c1cb62d-c60a-4e4f-b918-a4b6f306529d" providerId="ADAL" clId="{E092D7A1-82EB-4D22-BB18-1679018EBBCB}" dt="2024-05-08T20:04:03.658" v="1413" actId="948"/>
          <ac:spMkLst>
            <pc:docMk/>
            <pc:sldMk cId="3747873706" sldId="318"/>
            <ac:spMk id="4" creationId="{36E55460-8A90-5580-E513-0693E23AD7FC}"/>
          </ac:spMkLst>
        </pc:spChg>
        <pc:spChg chg="del">
          <ac:chgData name="Strzyminski, Grzegorz" userId="0c1cb62d-c60a-4e4f-b918-a4b6f306529d" providerId="ADAL" clId="{E092D7A1-82EB-4D22-BB18-1679018EBBCB}" dt="2024-05-08T20:03:35.354" v="1365" actId="478"/>
          <ac:spMkLst>
            <pc:docMk/>
            <pc:sldMk cId="3747873706" sldId="318"/>
            <ac:spMk id="5" creationId="{C33592B9-9D08-4CC5-79E0-4715D66CE161}"/>
          </ac:spMkLst>
        </pc:spChg>
        <pc:spChg chg="add del mod">
          <ac:chgData name="Strzyminski, Grzegorz" userId="0c1cb62d-c60a-4e4f-b918-a4b6f306529d" providerId="ADAL" clId="{E092D7A1-82EB-4D22-BB18-1679018EBBCB}" dt="2024-05-08T20:03:45.678" v="1367" actId="478"/>
          <ac:spMkLst>
            <pc:docMk/>
            <pc:sldMk cId="3747873706" sldId="318"/>
            <ac:spMk id="6" creationId="{5447E46D-356F-E1C5-CA7F-E28142973824}"/>
          </ac:spMkLst>
        </pc:spChg>
        <pc:spChg chg="add del mod modVis">
          <ac:chgData name="Strzyminski, Grzegorz" userId="0c1cb62d-c60a-4e4f-b918-a4b6f306529d" providerId="ADAL" clId="{E092D7A1-82EB-4D22-BB18-1679018EBBCB}" dt="2024-05-08T20:04:02.582" v="1409"/>
          <ac:spMkLst>
            <pc:docMk/>
            <pc:sldMk cId="3747873706" sldId="318"/>
            <ac:spMk id="7" creationId="{7DFA6695-0301-93C0-EACC-3C01015C652B}"/>
          </ac:spMkLst>
        </pc:spChg>
        <pc:spChg chg="add del mod modVis">
          <ac:chgData name="Strzyminski, Grzegorz" userId="0c1cb62d-c60a-4e4f-b918-a4b6f306529d" providerId="ADAL" clId="{E092D7A1-82EB-4D22-BB18-1679018EBBCB}" dt="2024-05-08T20:04:03.676" v="1436"/>
          <ac:spMkLst>
            <pc:docMk/>
            <pc:sldMk cId="3747873706" sldId="318"/>
            <ac:spMk id="8" creationId="{D205E014-B742-42AE-3D2C-41C79D408194}"/>
          </ac:spMkLst>
        </pc:spChg>
        <pc:graphicFrameChg chg="add mod ord modVis replST">
          <ac:chgData name="Strzyminski, Grzegorz" userId="0c1cb62d-c60a-4e4f-b918-a4b6f306529d" providerId="ADAL" clId="{E092D7A1-82EB-4D22-BB18-1679018EBBCB}" dt="2024-05-08T20:04:03.679" v="1438"/>
          <ac:graphicFrameMkLst>
            <pc:docMk/>
            <pc:sldMk cId="3747873706" sldId="318"/>
            <ac:graphicFrameMk id="2" creationId="{6AE4A805-EFE0-FA7C-7CA5-0BBA1A12785E}"/>
          </ac:graphicFrameMkLst>
        </pc:graphicFrameChg>
      </pc:sldChg>
      <pc:sldChg chg="add">
        <pc:chgData name="Strzyminski, Grzegorz" userId="0c1cb62d-c60a-4e4f-b918-a4b6f306529d" providerId="ADAL" clId="{E092D7A1-82EB-4D22-BB18-1679018EBBCB}" dt="2024-05-08T20:03:57.300" v="1368" actId="2890"/>
        <pc:sldMkLst>
          <pc:docMk/>
          <pc:sldMk cId="2450749175" sldId="319"/>
        </pc:sldMkLst>
      </pc:sldChg>
      <pc:sldMasterChg chg="addSp delSp modSp mod">
        <pc:chgData name="Strzyminski, Grzegorz" userId="0c1cb62d-c60a-4e4f-b918-a4b6f306529d" providerId="ADAL" clId="{E092D7A1-82EB-4D22-BB18-1679018EBBCB}" dt="2024-05-08T17:59:41.689" v="67"/>
        <pc:sldMasterMkLst>
          <pc:docMk/>
          <pc:sldMasterMk cId="2525828007" sldId="2147483648"/>
        </pc:sldMasterMkLst>
        <pc:spChg chg="mod">
          <ac:chgData name="Strzyminski, Grzegorz" userId="0c1cb62d-c60a-4e4f-b918-a4b6f306529d" providerId="ADAL" clId="{E092D7A1-82EB-4D22-BB18-1679018EBBCB}" dt="2024-05-08T17:59:41.503" v="25" actId="948"/>
          <ac:spMkLst>
            <pc:docMk/>
            <pc:sldMasterMk cId="2525828007" sldId="2147483648"/>
            <ac:spMk id="2" creationId="{C3720FCF-99F2-7A24-42F1-EBD4F3377E2E}"/>
          </ac:spMkLst>
        </pc:spChg>
        <pc:spChg chg="add del mod modVis">
          <ac:chgData name="Strzyminski, Grzegorz" userId="0c1cb62d-c60a-4e4f-b918-a4b6f306529d" providerId="ADAL" clId="{E092D7A1-82EB-4D22-BB18-1679018EBBCB}" dt="2024-05-08T17:59:41.534" v="52"/>
          <ac:spMkLst>
            <pc:docMk/>
            <pc:sldMasterMk cId="2525828007" sldId="2147483648"/>
            <ac:spMk id="7" creationId="{50210C7C-146F-D78C-41F3-E52683048962}"/>
          </ac:spMkLst>
        </pc:spChg>
        <pc:graphicFrameChg chg="add mod ord modVis replST">
          <ac:chgData name="Strzyminski, Grzegorz" userId="0c1cb62d-c60a-4e4f-b918-a4b6f306529d" providerId="ADAL" clId="{E092D7A1-82EB-4D22-BB18-1679018EBBCB}" dt="2024-05-08T17:59:41.689" v="67"/>
          <ac:graphicFrameMkLst>
            <pc:docMk/>
            <pc:sldMasterMk cId="2525828007" sldId="2147483648"/>
            <ac:graphicFrameMk id="8" creationId="{45202032-17CE-F9CD-B467-0A20EDA08EBB}"/>
          </ac:graphicFrameMkLst>
        </pc:graphicFrameChg>
      </pc:sldMasterChg>
      <pc:sldMasterChg chg="del delSldLayout">
        <pc:chgData name="Strzyminski, Grzegorz" userId="0c1cb62d-c60a-4e4f-b918-a4b6f306529d" providerId="ADAL" clId="{E092D7A1-82EB-4D22-BB18-1679018EBBCB}" dt="2024-05-08T18:01:05.611" v="206" actId="47"/>
        <pc:sldMasterMkLst>
          <pc:docMk/>
          <pc:sldMasterMk cId="1055501284" sldId="2147483666"/>
        </pc:sldMasterMkLst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523569474" sldId="2147483667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1611985224" sldId="2147483668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3586141168" sldId="2147483669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4235714373" sldId="2147483670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3975399177" sldId="2147483671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2243311260" sldId="2147483672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70152698" sldId="2147483673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4289981515" sldId="2147483674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454285781" sldId="2147483675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1077746317" sldId="2147483676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1811886767" sldId="2147483677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26135658" sldId="2147483678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1691727893" sldId="2147483679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3908919023" sldId="2147483680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1034135279" sldId="2147483681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927651245" sldId="2147483682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3218749376" sldId="2147483683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928245718" sldId="2147483684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3933711936" sldId="2147483685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2838422899" sldId="2147483686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2916592067" sldId="2147483687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4149143458" sldId="2147483688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3477514589" sldId="2147483689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3749708789" sldId="2147483690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498151165" sldId="2147483691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2445263955" sldId="2147483692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2686581776" sldId="2147483693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1042677639" sldId="2147483694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2041805041" sldId="2147483695"/>
          </pc:sldLayoutMkLst>
        </pc:sldLayoutChg>
        <pc:sldLayoutChg chg="del">
          <pc:chgData name="Strzyminski, Grzegorz" userId="0c1cb62d-c60a-4e4f-b918-a4b6f306529d" providerId="ADAL" clId="{E092D7A1-82EB-4D22-BB18-1679018EBBCB}" dt="2024-05-08T18:01:05.611" v="206" actId="47"/>
          <pc:sldLayoutMkLst>
            <pc:docMk/>
            <pc:sldMasterMk cId="1055501284" sldId="2147483666"/>
            <pc:sldLayoutMk cId="2712345054" sldId="2147483696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505EBD-899E-4D20-814E-25D5A8431EC1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2FC1C7-E825-417F-8654-7C89BA5C32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2842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2FC1C7-E825-417F-8654-7C89BA5C321A}" type="slidenum">
              <a:rPr lang="pl-PL" smtClean="0"/>
              <a:t>1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98452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2FC1C7-E825-417F-8654-7C89BA5C321A}" type="slidenum">
              <a:rPr lang="pl-PL" smtClean="0"/>
              <a:t>3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60121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3046E8-D4CE-2F58-1510-F9C515512E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355C5C-17E7-BAFE-2DE1-B2D645514A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032DA2-9F3D-CBEC-4755-6E1918EF75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C9CE76-640E-5157-7B51-6A9305B8C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9BD15F-ED34-89FB-D132-ACE112141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6838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C863A-C6E3-2A45-6E79-3EAD718C0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DA9438-72B6-1420-F28B-4C31D93B29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739C1C-2569-9C57-865C-DE7D327112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630CCC-4C22-5A33-5E30-D47024D613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FFC9A7-FF49-4545-B2D5-672A0F4E5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19CF51-49D9-00BB-B689-26C03AB6A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3882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69D5F-480F-8497-ED83-BA0FB63DE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650576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0475AD-A3DA-6F7F-DEE3-4A0D55FFD0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B50444-C4B7-BF77-E77E-32363E5DE1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E2C262-6AE0-AAE5-11C9-FDF32E4CE8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637F91-2EC2-E4F2-334F-4C0C1AAE2A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9BDF604-7A2C-09FA-748F-0AA262B037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F5CDB47-8ECC-918D-17AB-7EABD29206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8E7ED50-068B-EB42-17A0-EF43328626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6535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162BD0-3E8F-915C-23F3-4FFF40C28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E57ABD-964D-D1CB-61C2-086DBC52B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9639E-E6C4-F10B-274F-ECD5D6F9B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C8FADB-9722-FDB8-B825-864C61B9F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147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B6F395-F0CD-D071-58F0-98D923414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3E10D7-DCE6-9773-E24E-4EBCF2607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E3F035-63A4-992E-886B-D827C2C86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6506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6D2912-2EB3-7935-32F8-6C235A03F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1E4228-55C4-BA66-9130-8E67E9D393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126836"/>
            <a:ext cx="6172200" cy="473421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0ACB25-3607-0C37-09BE-F9B3381E74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249070-EE56-FD1E-9EE1-4782C90865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091F71-1703-5E8F-1C8A-AAA2026B7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4BC3BA-9DAF-76B5-0592-BF039C40B9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64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6C3EE-DD3D-CC0A-9622-34AF2925E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6F5ECF-C541-6FC8-65E5-0C48F86A93D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117600"/>
            <a:ext cx="6172200" cy="47434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C8BC86-F3CB-0712-0F2B-63F3D994B2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B008B2-EEFD-36BF-E8C7-B270B96BA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F7105F-11BE-92C7-4A21-3AA3CF9344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593FA3-679C-7B34-E566-8D1680AA9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4093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B6F395-F0CD-D071-58F0-98D923414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3E10D7-DCE6-9773-E24E-4EBCF2607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E3F035-63A4-992E-886B-D827C2C86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1179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B6F395-F0CD-D071-58F0-98D923414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3E10D7-DCE6-9773-E24E-4EBCF2607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E3F035-63A4-992E-886B-D827C2C86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64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025EA-0E57-B9F1-AC24-990C20A0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079B0-CA2E-970B-8434-A2AF7752D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ADF931-E3C1-1E0C-C038-6A1262E81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CAE79-9B1B-D6B6-2729-9A5E2B9EC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088A7-4D4B-E298-37B1-F77B3916A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040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025EA-0E57-B9F1-AC24-990C20A0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079B0-CA2E-970B-8434-A2AF7752D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ADF931-E3C1-1E0C-C038-6A1262E81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CAE79-9B1B-D6B6-2729-9A5E2B9EC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088A7-4D4B-E298-37B1-F77B3916A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9697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025EA-0E57-B9F1-AC24-990C20A0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079B0-CA2E-970B-8434-A2AF7752D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ADF931-E3C1-1E0C-C038-6A1262E81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CAE79-9B1B-D6B6-2729-9A5E2B9EC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088A7-4D4B-E298-37B1-F77B3916A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0958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025EA-0E57-B9F1-AC24-990C20A0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079B0-CA2E-970B-8434-A2AF7752D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ADF931-E3C1-1E0C-C038-6A1262E81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CAE79-9B1B-D6B6-2729-9A5E2B9EC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088A7-4D4B-E298-37B1-F77B3916A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284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025EA-0E57-B9F1-AC24-990C20A0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079B0-CA2E-970B-8434-A2AF7752D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ADF931-E3C1-1E0C-C038-6A1262E81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CAE79-9B1B-D6B6-2729-9A5E2B9EC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088A7-4D4B-E298-37B1-F77B3916A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944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025EA-0E57-B9F1-AC24-990C20A0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079B0-CA2E-970B-8434-A2AF7752D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ADF931-E3C1-1E0C-C038-6A1262E81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CAE79-9B1B-D6B6-2729-9A5E2B9EC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088A7-4D4B-E298-37B1-F77B3916A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8323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025EA-0E57-B9F1-AC24-990C20A0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079B0-CA2E-970B-8434-A2AF7752D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ADF931-E3C1-1E0C-C038-6A1262E81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CAE79-9B1B-D6B6-2729-9A5E2B9EC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088A7-4D4B-E298-37B1-F77B3916A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655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71FD6-33E0-2040-45C9-164DEC5A9D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3BDA95-0DDB-08BC-079E-0F75B082E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7560B5-F692-EDD5-6D04-D9A5EE7C8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717E0E-5288-F7B7-8530-D3F6A9DE3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FAA9C9-DC12-1035-8CEB-55828072D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52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5202032-17CE-F9CD-B467-0A20EDA08E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24956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04" imgH="405" progId="TCLayout.ActiveDocument.1">
                  <p:embed/>
                </p:oleObj>
              </mc:Choice>
              <mc:Fallback>
                <p:oleObj name="think-cell Slide" r:id="rId21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202032-17CE-F9CD-B467-0A20EDA08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3720FCF-99F2-7A24-42F1-EBD4F3377E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64754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BC20CC-F572-DE62-0AAB-CCC4574102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6A2F9E-3C55-8F8A-D67A-7C9AA57BE0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F218A68-7E6F-4792-81EA-3F8FCF2AD9D6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D8732D-4FFE-1FB3-4CFA-9B128DD831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B36AF-2FAC-96CE-CCF7-B6189B2DE1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D103C2-89A1-4FCA-87EF-DAE6FA725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828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51" r:id="rId9"/>
    <p:sldLayoutId id="2147483652" r:id="rId10"/>
    <p:sldLayoutId id="2147483653" r:id="rId11"/>
    <p:sldLayoutId id="2147483654" r:id="rId12"/>
    <p:sldLayoutId id="2147483655" r:id="rId13"/>
    <p:sldLayoutId id="2147483656" r:id="rId14"/>
    <p:sldLayoutId id="2147483657" r:id="rId15"/>
    <p:sldLayoutId id="2147483658" r:id="rId16"/>
    <p:sldLayoutId id="2147483659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Oswald" pitchFamily="2" charset="-18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Oswald" pitchFamily="2" charset="-18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swald" pitchFamily="2" charset="-18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swald" pitchFamily="2" charset="-18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swald" pitchFamily="2" charset="-18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swald" pitchFamily="2" charset="-18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2.jpeg"/><Relationship Id="rId5" Type="http://schemas.openxmlformats.org/officeDocument/2006/relationships/image" Target="../media/image2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77FC4F-454C-1B17-4F7A-176BE4B228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994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77FC4F-454C-1B17-4F7A-176BE4B22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1C3F91-B0F6-F32C-9685-D17905EA71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pl-PL" sz="4800" noProof="0"/>
              <a:t>Co naprawdę potrafią nowe wizualizacje karty oraz fragmentatora w Power BI?</a:t>
            </a:r>
            <a:endParaRPr lang="pl-PL" sz="4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2395A24-37C0-A695-CCE7-96772F485FA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noProof="0"/>
              <a:t>Grzegorz Strzymiński</a:t>
            </a:r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836487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433FBE9-6BFC-77D2-FC14-10E0ACD096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289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33FBE9-6BFC-77D2-FC14-10E0ACD09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Harmonogram</a:t>
            </a:r>
            <a:r>
              <a:rPr lang="en-US" dirty="0"/>
              <a:t> </a:t>
            </a:r>
            <a:r>
              <a:rPr lang="en-US" dirty="0" err="1"/>
              <a:t>rozwoju</a:t>
            </a:r>
            <a:r>
              <a:rPr lang="en-US" dirty="0"/>
              <a:t> </a:t>
            </a:r>
            <a:r>
              <a:rPr lang="en-US" dirty="0" err="1"/>
              <a:t>nowej</a:t>
            </a:r>
            <a:r>
              <a:rPr lang="en-US" dirty="0"/>
              <a:t> </a:t>
            </a:r>
            <a:r>
              <a:rPr lang="en-US" dirty="0" err="1"/>
              <a:t>karty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B0CD72D-F27E-CBEC-DFF6-5F1F67356A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65878"/>
            <a:ext cx="10201461" cy="3915051"/>
          </a:xfrm>
        </p:spPr>
        <p:txBody>
          <a:bodyPr>
            <a:noAutofit/>
          </a:bodyPr>
          <a:lstStyle/>
          <a:p>
            <a:pPr marL="0" indent="0" algn="l">
              <a:lnSpc>
                <a:spcPct val="90000"/>
              </a:lnSpc>
              <a:buNone/>
            </a:pPr>
            <a:r>
              <a:rPr lang="en-GB" sz="1900" b="1" dirty="0">
                <a:solidFill>
                  <a:srgbClr val="000000"/>
                </a:solidFill>
              </a:rPr>
              <a:t>Na </a:t>
            </a:r>
            <a:r>
              <a:rPr lang="en-GB" sz="1900" b="1" dirty="0" err="1">
                <a:solidFill>
                  <a:srgbClr val="000000"/>
                </a:solidFill>
              </a:rPr>
              <a:t>dzisiaj</a:t>
            </a:r>
            <a:r>
              <a:rPr lang="en-GB" sz="1900" b="1" dirty="0">
                <a:solidFill>
                  <a:srgbClr val="000000"/>
                </a:solidFill>
              </a:rPr>
              <a:t> </a:t>
            </a:r>
            <a:r>
              <a:rPr lang="en-GB" sz="1900" b="1" dirty="0" err="1">
                <a:solidFill>
                  <a:srgbClr val="000000"/>
                </a:solidFill>
              </a:rPr>
              <a:t>dostępna</a:t>
            </a:r>
            <a:r>
              <a:rPr lang="en-GB" sz="1900" b="1" dirty="0">
                <a:solidFill>
                  <a:srgbClr val="000000"/>
                </a:solidFill>
              </a:rPr>
              <a:t> jest </a:t>
            </a:r>
            <a:r>
              <a:rPr lang="en-GB" sz="1900" b="1" dirty="0" err="1">
                <a:solidFill>
                  <a:srgbClr val="000000"/>
                </a:solidFill>
              </a:rPr>
              <a:t>wielo-karta</a:t>
            </a:r>
            <a:r>
              <a:rPr lang="en-GB" sz="1900" b="1" dirty="0">
                <a:solidFill>
                  <a:srgbClr val="000000"/>
                </a:solidFill>
              </a:rPr>
              <a:t> </a:t>
            </a:r>
            <a:r>
              <a:rPr lang="en-GB" sz="1900" b="1" dirty="0" err="1">
                <a:solidFill>
                  <a:srgbClr val="000000"/>
                </a:solidFill>
              </a:rPr>
              <a:t>oraz</a:t>
            </a:r>
            <a:r>
              <a:rPr lang="en-GB" sz="1900" b="1" dirty="0">
                <a:solidFill>
                  <a:srgbClr val="000000"/>
                </a:solidFill>
              </a:rPr>
              <a:t> </a:t>
            </a:r>
            <a:r>
              <a:rPr lang="en-GB" sz="1900" b="1" dirty="0" err="1">
                <a:solidFill>
                  <a:srgbClr val="000000"/>
                </a:solidFill>
              </a:rPr>
              <a:t>etykietki</a:t>
            </a:r>
            <a:r>
              <a:rPr lang="en-GB" sz="1900" b="1" dirty="0">
                <a:solidFill>
                  <a:srgbClr val="000000"/>
                </a:solidFill>
              </a:rPr>
              <a:t> </a:t>
            </a:r>
            <a:r>
              <a:rPr lang="en-GB" sz="1900" b="1" dirty="0" err="1">
                <a:solidFill>
                  <a:srgbClr val="000000"/>
                </a:solidFill>
              </a:rPr>
              <a:t>odniesienia</a:t>
            </a:r>
            <a:r>
              <a:rPr lang="en-GB" sz="1900" b="1" dirty="0">
                <a:solidFill>
                  <a:srgbClr val="000000"/>
                </a:solidFill>
              </a:rPr>
              <a:t>.</a:t>
            </a:r>
          </a:p>
          <a:p>
            <a:pPr algn="l">
              <a:lnSpc>
                <a:spcPct val="90000"/>
              </a:lnSpc>
            </a:pPr>
            <a:endParaRPr lang="en-GB" sz="1900" b="1" dirty="0">
              <a:solidFill>
                <a:srgbClr val="000000"/>
              </a:solidFill>
            </a:endParaRPr>
          </a:p>
          <a:p>
            <a:pPr marL="0" indent="0" algn="l">
              <a:lnSpc>
                <a:spcPct val="90000"/>
              </a:lnSpc>
              <a:buNone/>
            </a:pPr>
            <a:r>
              <a:rPr lang="en-GB" sz="1900" b="1" dirty="0">
                <a:solidFill>
                  <a:srgbClr val="000000"/>
                </a:solidFill>
              </a:rPr>
              <a:t>Microsoft </a:t>
            </a:r>
            <a:r>
              <a:rPr lang="en-GB" sz="1900" b="1" dirty="0" err="1">
                <a:solidFill>
                  <a:srgbClr val="000000"/>
                </a:solidFill>
              </a:rPr>
              <a:t>planuje</a:t>
            </a:r>
            <a:r>
              <a:rPr lang="en-GB" sz="1900" b="1" dirty="0">
                <a:solidFill>
                  <a:srgbClr val="000000"/>
                </a:solidFill>
              </a:rPr>
              <a:t> </a:t>
            </a:r>
            <a:r>
              <a:rPr lang="en-GB" sz="1900" b="1" dirty="0" err="1">
                <a:solidFill>
                  <a:srgbClr val="000000"/>
                </a:solidFill>
              </a:rPr>
              <a:t>kontynuować</a:t>
            </a:r>
            <a:r>
              <a:rPr lang="en-GB" sz="1900" b="1" dirty="0">
                <a:solidFill>
                  <a:srgbClr val="000000"/>
                </a:solidFill>
              </a:rPr>
              <a:t> </a:t>
            </a:r>
            <a:r>
              <a:rPr lang="en-GB" sz="1900" b="1" dirty="0" err="1">
                <a:solidFill>
                  <a:srgbClr val="000000"/>
                </a:solidFill>
              </a:rPr>
              <a:t>rozwój</a:t>
            </a:r>
            <a:r>
              <a:rPr lang="en-GB" sz="1900" b="1" dirty="0">
                <a:solidFill>
                  <a:srgbClr val="000000"/>
                </a:solidFill>
              </a:rPr>
              <a:t> </a:t>
            </a:r>
            <a:r>
              <a:rPr lang="en-GB" sz="1900" b="1" dirty="0" err="1">
                <a:solidFill>
                  <a:srgbClr val="000000"/>
                </a:solidFill>
              </a:rPr>
              <a:t>wizualizacji</a:t>
            </a:r>
            <a:r>
              <a:rPr lang="en-GB" sz="1900" b="1" dirty="0">
                <a:solidFill>
                  <a:srgbClr val="000000"/>
                </a:solidFill>
              </a:rPr>
              <a:t> </a:t>
            </a:r>
            <a:r>
              <a:rPr lang="en-GB" sz="1900" b="1" dirty="0" err="1">
                <a:solidFill>
                  <a:srgbClr val="000000"/>
                </a:solidFill>
              </a:rPr>
              <a:t>nowej</a:t>
            </a:r>
            <a:r>
              <a:rPr lang="en-GB" sz="1900" b="1" dirty="0">
                <a:solidFill>
                  <a:srgbClr val="000000"/>
                </a:solidFill>
              </a:rPr>
              <a:t> </a:t>
            </a:r>
            <a:r>
              <a:rPr lang="en-GB" sz="1900" b="1" dirty="0" err="1">
                <a:solidFill>
                  <a:srgbClr val="000000"/>
                </a:solidFill>
              </a:rPr>
              <a:t>karty</a:t>
            </a:r>
            <a:r>
              <a:rPr lang="en-GB" sz="1900" b="1" dirty="0">
                <a:solidFill>
                  <a:srgbClr val="000000"/>
                </a:solidFill>
              </a:rPr>
              <a:t>. Oto </a:t>
            </a:r>
            <a:r>
              <a:rPr lang="en-GB" sz="1900" b="1" dirty="0" err="1">
                <a:solidFill>
                  <a:srgbClr val="000000"/>
                </a:solidFill>
              </a:rPr>
              <a:t>harmonogram</a:t>
            </a:r>
            <a:r>
              <a:rPr lang="en-GB" sz="1900" b="1" dirty="0">
                <a:solidFill>
                  <a:srgbClr val="000000"/>
                </a:solidFill>
              </a:rPr>
              <a:t>:</a:t>
            </a:r>
          </a:p>
          <a:p>
            <a:pPr algn="l">
              <a:lnSpc>
                <a:spcPct val="90000"/>
              </a:lnSpc>
            </a:pPr>
            <a:endParaRPr lang="en-GB" sz="1900" b="1" dirty="0">
              <a:solidFill>
                <a:srgbClr val="000000"/>
              </a:solidFill>
            </a:endParaRPr>
          </a:p>
          <a:p>
            <a:pPr marL="800100" lvl="1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GB" sz="19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elo-karta</a:t>
            </a:r>
            <a:r>
              <a:rPr lang="en-GB" sz="19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- </a:t>
            </a:r>
            <a:r>
              <a:rPr lang="en-GB" sz="19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ostępna</a:t>
            </a:r>
            <a:endParaRPr lang="en-GB" sz="1900" b="1" dirty="0">
              <a:solidFill>
                <a:srgbClr val="000000"/>
              </a:solidFill>
            </a:endParaRPr>
          </a:p>
          <a:p>
            <a:pPr marL="800100" lvl="1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GB" sz="19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tykietki</a:t>
            </a:r>
            <a:r>
              <a:rPr lang="en-GB" sz="19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GB" sz="19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dniesienia</a:t>
            </a:r>
            <a:r>
              <a:rPr lang="en-GB" sz="19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– </a:t>
            </a:r>
            <a:r>
              <a:rPr lang="en-GB" sz="19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ostępne</a:t>
            </a:r>
            <a:endParaRPr lang="en-GB" sz="1900" b="1" dirty="0">
              <a:solidFill>
                <a:srgbClr val="000000"/>
              </a:solidFill>
            </a:endParaRPr>
          </a:p>
          <a:p>
            <a:pPr marL="800100" lvl="1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GB" sz="1900" b="1" dirty="0" err="1">
                <a:solidFill>
                  <a:srgbClr val="000000"/>
                </a:solidFill>
              </a:rPr>
              <a:t>Małe</a:t>
            </a:r>
            <a:r>
              <a:rPr lang="en-GB" sz="1900" b="1" dirty="0">
                <a:solidFill>
                  <a:srgbClr val="000000"/>
                </a:solidFill>
              </a:rPr>
              <a:t> </a:t>
            </a:r>
            <a:r>
              <a:rPr lang="en-GB" sz="1900" b="1" dirty="0" err="1">
                <a:solidFill>
                  <a:srgbClr val="000000"/>
                </a:solidFill>
              </a:rPr>
              <a:t>wielokrotności</a:t>
            </a:r>
            <a:r>
              <a:rPr lang="en-GB" sz="1900" b="1" dirty="0">
                <a:solidFill>
                  <a:srgbClr val="000000"/>
                </a:solidFill>
              </a:rPr>
              <a:t> – data </a:t>
            </a:r>
            <a:r>
              <a:rPr lang="en-GB" sz="1900" b="1" dirty="0" err="1">
                <a:solidFill>
                  <a:srgbClr val="000000"/>
                </a:solidFill>
              </a:rPr>
              <a:t>nieznana</a:t>
            </a:r>
            <a:endParaRPr lang="en-GB" sz="1900" b="1" dirty="0">
              <a:solidFill>
                <a:srgbClr val="000000"/>
              </a:solidFill>
            </a:endParaRPr>
          </a:p>
          <a:p>
            <a:pPr marL="800100" lvl="1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GB" sz="1900" b="1" dirty="0" err="1">
                <a:solidFill>
                  <a:srgbClr val="000000"/>
                </a:solidFill>
              </a:rPr>
              <a:t>Akcje</a:t>
            </a:r>
            <a:r>
              <a:rPr lang="en-GB" sz="1900" b="1" dirty="0">
                <a:solidFill>
                  <a:srgbClr val="000000"/>
                </a:solidFill>
              </a:rPr>
              <a:t> – data </a:t>
            </a:r>
            <a:r>
              <a:rPr lang="en-GB" sz="1900" b="1" dirty="0" err="1">
                <a:solidFill>
                  <a:srgbClr val="000000"/>
                </a:solidFill>
              </a:rPr>
              <a:t>nieznana</a:t>
            </a:r>
            <a:endParaRPr lang="en-GB" sz="1900" b="1" dirty="0">
              <a:solidFill>
                <a:srgbClr val="000000"/>
              </a:solidFill>
            </a:endParaRPr>
          </a:p>
          <a:p>
            <a:pPr marL="800100" lvl="1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GB" sz="1900" b="1" dirty="0">
                <a:solidFill>
                  <a:srgbClr val="000000"/>
                </a:solidFill>
              </a:rPr>
              <a:t>Trendy – data </a:t>
            </a:r>
            <a:r>
              <a:rPr lang="en-GB" sz="1900" b="1" dirty="0" err="1">
                <a:solidFill>
                  <a:srgbClr val="000000"/>
                </a:solidFill>
              </a:rPr>
              <a:t>nieznana</a:t>
            </a:r>
            <a:endParaRPr lang="en-DK" sz="1900" dirty="0"/>
          </a:p>
        </p:txBody>
      </p:sp>
    </p:spTree>
    <p:extLst>
      <p:ext uri="{BB962C8B-B14F-4D97-AF65-F5344CB8AC3E}">
        <p14:creationId xmlns:p14="http://schemas.microsoft.com/office/powerpoint/2010/main" val="7459716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913C73-D956-5172-B65C-2461815C20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0986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913C73-D956-5172-B65C-2461815C2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8647113" cy="1325563"/>
          </a:xfrm>
        </p:spPr>
        <p:txBody>
          <a:bodyPr vert="horz"/>
          <a:lstStyle/>
          <a:p>
            <a:r>
              <a:rPr lang="en-US" dirty="0" err="1"/>
              <a:t>Demonstracje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żyw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4046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49C8691-9B24-7B7B-1740-4707FE995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1101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9C8691-9B24-7B7B-1740-4707FE995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Wnioski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C3EE34E-63DF-0E82-F36E-8EEF7B0611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90688"/>
            <a:ext cx="10201461" cy="4429957"/>
          </a:xfrm>
        </p:spPr>
        <p:txBody>
          <a:bodyPr>
            <a:normAutofit fontScale="85000" lnSpcReduction="20000"/>
          </a:bodyPr>
          <a:lstStyle/>
          <a:p>
            <a:pPr marL="457200" indent="-457200" algn="l">
              <a:lnSpc>
                <a:spcPct val="100000"/>
              </a:lnSpc>
              <a:buFont typeface="+mj-lt"/>
              <a:buAutoNum type="arabicPeriod"/>
            </a:pPr>
            <a:r>
              <a:rPr lang="en-GB" sz="2800" dirty="0" err="1">
                <a:solidFill>
                  <a:srgbClr val="000000"/>
                </a:solidFill>
              </a:rPr>
              <a:t>Nowe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wizualizacje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karty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oraz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fragmentatora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wyspowego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oferują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wiele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nowych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funkcjonalności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oraz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duże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możliwości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personalizacji</a:t>
            </a:r>
            <a:r>
              <a:rPr lang="en-GB" dirty="0">
                <a:solidFill>
                  <a:srgbClr val="000000"/>
                </a:solidFill>
              </a:rPr>
              <a:t>.</a:t>
            </a:r>
            <a:endParaRPr lang="en-GB" sz="2800" dirty="0">
              <a:solidFill>
                <a:srgbClr val="000000"/>
              </a:solidFill>
            </a:endParaRPr>
          </a:p>
          <a:p>
            <a:pPr marL="457200" indent="-457200" algn="l">
              <a:lnSpc>
                <a:spcPct val="100000"/>
              </a:lnSpc>
              <a:buFont typeface="+mj-lt"/>
              <a:buAutoNum type="arabicPeriod"/>
            </a:pPr>
            <a:r>
              <a:rPr lang="en-GB" sz="2800" dirty="0" err="1">
                <a:solidFill>
                  <a:srgbClr val="000000"/>
                </a:solidFill>
              </a:rPr>
              <a:t>Powinieneś</a:t>
            </a:r>
            <a:r>
              <a:rPr lang="en-GB" sz="2800" dirty="0">
                <a:solidFill>
                  <a:srgbClr val="000000"/>
                </a:solidFill>
              </a:rPr>
              <a:t>(-</a:t>
            </a:r>
            <a:r>
              <a:rPr lang="en-GB" sz="2800" dirty="0" err="1">
                <a:solidFill>
                  <a:srgbClr val="000000"/>
                </a:solidFill>
              </a:rPr>
              <a:t>aś</a:t>
            </a:r>
            <a:r>
              <a:rPr lang="en-GB" sz="2800" dirty="0">
                <a:solidFill>
                  <a:srgbClr val="000000"/>
                </a:solidFill>
              </a:rPr>
              <a:t>) </a:t>
            </a:r>
            <a:r>
              <a:rPr lang="en-GB" sz="2800" dirty="0" err="1">
                <a:solidFill>
                  <a:srgbClr val="000000"/>
                </a:solidFill>
              </a:rPr>
              <a:t>zdecydować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się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na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użycie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nowych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wizualizacji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zamiast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starych</a:t>
            </a:r>
            <a:r>
              <a:rPr lang="en-GB" dirty="0">
                <a:solidFill>
                  <a:srgbClr val="000000"/>
                </a:solidFill>
              </a:rPr>
              <a:t> w </a:t>
            </a:r>
            <a:r>
              <a:rPr lang="en-GB" dirty="0" err="1">
                <a:solidFill>
                  <a:srgbClr val="000000"/>
                </a:solidFill>
              </a:rPr>
              <a:t>każdym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przypadku</a:t>
            </a:r>
            <a:r>
              <a:rPr lang="en-GB" dirty="0">
                <a:solidFill>
                  <a:srgbClr val="000000"/>
                </a:solidFill>
              </a:rPr>
              <a:t>, </a:t>
            </a:r>
            <a:r>
              <a:rPr lang="en-GB" dirty="0" err="1">
                <a:solidFill>
                  <a:srgbClr val="000000"/>
                </a:solidFill>
              </a:rPr>
              <a:t>kiedy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potrzebujesz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bardziej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zaawansowanego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designu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i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wyglądu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ponad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tym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podstawowym</a:t>
            </a:r>
            <a:r>
              <a:rPr lang="en-GB" dirty="0">
                <a:solidFill>
                  <a:srgbClr val="000000"/>
                </a:solidFill>
              </a:rPr>
              <a:t>, </a:t>
            </a:r>
            <a:r>
              <a:rPr lang="en-GB" dirty="0" err="1">
                <a:solidFill>
                  <a:srgbClr val="000000"/>
                </a:solidFill>
              </a:rPr>
              <a:t>oferowanym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przez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poprzednio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dostępne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wizualizacje</a:t>
            </a:r>
            <a:r>
              <a:rPr lang="en-GB" dirty="0">
                <a:solidFill>
                  <a:srgbClr val="000000"/>
                </a:solidFill>
              </a:rPr>
              <a:t>.</a:t>
            </a:r>
            <a:endParaRPr lang="en-GB" sz="2800" dirty="0">
              <a:solidFill>
                <a:srgbClr val="000000"/>
              </a:solidFill>
            </a:endParaRPr>
          </a:p>
          <a:p>
            <a:pPr marL="457200" indent="-457200" algn="l">
              <a:lnSpc>
                <a:spcPct val="100000"/>
              </a:lnSpc>
              <a:buFont typeface="+mj-lt"/>
              <a:buAutoNum type="arabicPeriod"/>
            </a:pPr>
            <a:r>
              <a:rPr lang="en-GB" sz="2800" dirty="0" err="1">
                <a:solidFill>
                  <a:srgbClr val="000000"/>
                </a:solidFill>
              </a:rPr>
              <a:t>Zdecyduj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się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na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nową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wizualizację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karty</a:t>
            </a:r>
            <a:r>
              <a:rPr lang="en-GB" sz="2800" dirty="0">
                <a:solidFill>
                  <a:srgbClr val="000000"/>
                </a:solidFill>
              </a:rPr>
              <a:t>, </a:t>
            </a:r>
            <a:r>
              <a:rPr lang="en-GB" sz="2800" dirty="0" err="1">
                <a:solidFill>
                  <a:srgbClr val="000000"/>
                </a:solidFill>
              </a:rPr>
              <a:t>gdy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tylko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widzisz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potencjał</a:t>
            </a:r>
            <a:r>
              <a:rPr lang="en-GB" sz="2800" dirty="0">
                <a:solidFill>
                  <a:srgbClr val="000000"/>
                </a:solidFill>
              </a:rPr>
              <a:t> do </a:t>
            </a:r>
            <a:r>
              <a:rPr lang="en-GB" sz="2800" dirty="0" err="1">
                <a:solidFill>
                  <a:srgbClr val="000000"/>
                </a:solidFill>
              </a:rPr>
              <a:t>konsolidacji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wielu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elementów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wizualizacji</a:t>
            </a:r>
            <a:r>
              <a:rPr lang="en-GB" sz="2800" dirty="0">
                <a:solidFill>
                  <a:srgbClr val="000000"/>
                </a:solidFill>
              </a:rPr>
              <a:t> w </a:t>
            </a:r>
            <a:r>
              <a:rPr lang="en-GB" sz="2800" dirty="0" err="1">
                <a:solidFill>
                  <a:srgbClr val="000000"/>
                </a:solidFill>
              </a:rPr>
              <a:t>jeden</a:t>
            </a:r>
            <a:r>
              <a:rPr lang="en-GB" sz="2800" dirty="0">
                <a:solidFill>
                  <a:srgbClr val="000000"/>
                </a:solidFill>
              </a:rPr>
              <a:t> z </a:t>
            </a:r>
            <a:r>
              <a:rPr lang="en-GB" sz="2800" dirty="0" err="1">
                <a:solidFill>
                  <a:srgbClr val="000000"/>
                </a:solidFill>
              </a:rPr>
              <a:t>jej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użyciem</a:t>
            </a:r>
            <a:r>
              <a:rPr lang="en-GB" sz="2800" dirty="0">
                <a:solidFill>
                  <a:srgbClr val="000000"/>
                </a:solidFill>
              </a:rPr>
              <a:t>. </a:t>
            </a:r>
            <a:r>
              <a:rPr lang="en-GB" sz="2800" dirty="0" err="1">
                <a:solidFill>
                  <a:srgbClr val="000000"/>
                </a:solidFill>
              </a:rPr>
              <a:t>Dzięki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temu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poprawisz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wydajność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swojego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raportu</a:t>
            </a:r>
            <a:r>
              <a:rPr lang="en-GB" sz="2800" dirty="0">
                <a:solidFill>
                  <a:srgbClr val="000000"/>
                </a:solidFill>
              </a:rPr>
              <a:t>.</a:t>
            </a:r>
          </a:p>
          <a:p>
            <a:pPr marL="457200" indent="-457200" algn="l">
              <a:lnSpc>
                <a:spcPct val="100000"/>
              </a:lnSpc>
              <a:buFont typeface="+mj-lt"/>
              <a:buAutoNum type="arabicPeriod"/>
            </a:pPr>
            <a:r>
              <a:rPr lang="en-GB" dirty="0">
                <a:solidFill>
                  <a:srgbClr val="000000"/>
                </a:solidFill>
              </a:rPr>
              <a:t>Format </a:t>
            </a:r>
            <a:r>
              <a:rPr lang="en-GB" dirty="0" err="1">
                <a:solidFill>
                  <a:srgbClr val="000000"/>
                </a:solidFill>
              </a:rPr>
              <a:t>nowej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wizualizacji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karty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oraz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fragmentatora</a:t>
            </a:r>
            <a:r>
              <a:rPr lang="en-GB" dirty="0">
                <a:solidFill>
                  <a:srgbClr val="000000"/>
                </a:solidFill>
              </a:rPr>
              <a:t> jest w </a:t>
            </a:r>
            <a:r>
              <a:rPr lang="en-GB" dirty="0" err="1">
                <a:solidFill>
                  <a:srgbClr val="000000"/>
                </a:solidFill>
              </a:rPr>
              <a:t>pełni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reużywalny</a:t>
            </a:r>
            <a:r>
              <a:rPr lang="en-GB" dirty="0">
                <a:solidFill>
                  <a:srgbClr val="000000"/>
                </a:solidFill>
              </a:rPr>
              <a:t> z </a:t>
            </a:r>
            <a:r>
              <a:rPr lang="en-GB" dirty="0" err="1">
                <a:solidFill>
                  <a:srgbClr val="000000"/>
                </a:solidFill>
              </a:rPr>
              <a:t>użyciem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funkcji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kopiuj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i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dirty="0" err="1">
                <a:solidFill>
                  <a:srgbClr val="000000"/>
                </a:solidFill>
              </a:rPr>
              <a:t>wklej</a:t>
            </a:r>
            <a:r>
              <a:rPr lang="en-GB" dirty="0">
                <a:solidFill>
                  <a:srgbClr val="000000"/>
                </a:solidFill>
              </a:rPr>
              <a:t>.</a:t>
            </a:r>
            <a:endParaRPr lang="en-GB" sz="2800" dirty="0">
              <a:solidFill>
                <a:srgbClr val="000000"/>
              </a:solidFill>
            </a:endParaRPr>
          </a:p>
          <a:p>
            <a:pPr marL="457200" indent="-457200" algn="l">
              <a:lnSpc>
                <a:spcPct val="100000"/>
              </a:lnSpc>
              <a:buFont typeface="+mj-lt"/>
              <a:buAutoNum type="arabicPeriod"/>
            </a:pPr>
            <a:r>
              <a:rPr lang="en-GB" sz="2800" dirty="0" err="1">
                <a:solidFill>
                  <a:srgbClr val="000000"/>
                </a:solidFill>
              </a:rPr>
              <a:t>Zarówno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nowa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karta</a:t>
            </a:r>
            <a:r>
              <a:rPr lang="en-GB" sz="2800" dirty="0">
                <a:solidFill>
                  <a:srgbClr val="000000"/>
                </a:solidFill>
              </a:rPr>
              <a:t> jak </a:t>
            </a:r>
            <a:r>
              <a:rPr lang="en-GB" sz="2800" dirty="0" err="1">
                <a:solidFill>
                  <a:srgbClr val="000000"/>
                </a:solidFill>
              </a:rPr>
              <a:t>i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fragmentator</a:t>
            </a:r>
            <a:r>
              <a:rPr lang="en-GB" sz="2800" dirty="0">
                <a:solidFill>
                  <a:srgbClr val="000000"/>
                </a:solidFill>
              </a:rPr>
              <a:t> jest </a:t>
            </a:r>
            <a:r>
              <a:rPr lang="en-GB" sz="2800" dirty="0" err="1">
                <a:solidFill>
                  <a:srgbClr val="000000"/>
                </a:solidFill>
              </a:rPr>
              <a:t>aktualnie</a:t>
            </a:r>
            <a:r>
              <a:rPr lang="en-GB" sz="2800" dirty="0">
                <a:solidFill>
                  <a:srgbClr val="000000"/>
                </a:solidFill>
              </a:rPr>
              <a:t> w </a:t>
            </a:r>
            <a:r>
              <a:rPr lang="en-GB" sz="2800" dirty="0" err="1">
                <a:solidFill>
                  <a:srgbClr val="000000"/>
                </a:solidFill>
              </a:rPr>
              <a:t>fazie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poglądowej</a:t>
            </a:r>
            <a:r>
              <a:rPr lang="en-GB" sz="2800" dirty="0">
                <a:solidFill>
                  <a:srgbClr val="000000"/>
                </a:solidFill>
              </a:rPr>
              <a:t> – </a:t>
            </a:r>
            <a:r>
              <a:rPr lang="en-GB" sz="2800" dirty="0" err="1">
                <a:solidFill>
                  <a:srgbClr val="000000"/>
                </a:solidFill>
              </a:rPr>
              <a:t>mogą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wystąpić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pewne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bugi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i</a:t>
            </a:r>
            <a:r>
              <a:rPr lang="en-GB" sz="2800" dirty="0">
                <a:solidFill>
                  <a:srgbClr val="000000"/>
                </a:solidFill>
              </a:rPr>
              <a:t> </a:t>
            </a:r>
            <a:r>
              <a:rPr lang="en-GB" sz="2800" dirty="0" err="1">
                <a:solidFill>
                  <a:srgbClr val="000000"/>
                </a:solidFill>
              </a:rPr>
              <a:t>błędy</a:t>
            </a:r>
            <a:r>
              <a:rPr lang="en-GB" sz="2800" dirty="0">
                <a:solidFill>
                  <a:srgbClr val="000000"/>
                </a:solidFill>
              </a:rPr>
              <a:t>.</a:t>
            </a:r>
          </a:p>
          <a:p>
            <a:pPr marL="457200" indent="-457200" algn="l">
              <a:lnSpc>
                <a:spcPct val="100000"/>
              </a:lnSpc>
              <a:buFont typeface="+mj-lt"/>
              <a:buAutoNum type="arabicPeriod"/>
            </a:pPr>
            <a:endParaRPr lang="nl-NL" sz="2800" dirty="0"/>
          </a:p>
          <a:p>
            <a:pPr algn="l"/>
            <a:endParaRPr lang="en-DK" sz="2800" dirty="0"/>
          </a:p>
          <a:p>
            <a:pPr algn="l"/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1755916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AE4A805-EFE0-FA7C-7CA5-0BBA1A1278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376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E4A805-EFE0-FA7C-7CA5-0BBA1A1278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Dziękuję</a:t>
            </a:r>
            <a:r>
              <a:rPr lang="en-US" dirty="0"/>
              <a:t> za </a:t>
            </a:r>
            <a:r>
              <a:rPr lang="en-US" dirty="0" err="1"/>
              <a:t>uwagę</a:t>
            </a:r>
            <a:r>
              <a:rPr lang="en-US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7478737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AE4A805-EFE0-FA7C-7CA5-0BBA1A1278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E4A805-EFE0-FA7C-7CA5-0BBA1A1278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450749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34291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2" name="Rectangle 31">
            <a:extLst>
              <a:ext uri="{FF2B5EF4-FFF2-40B4-BE49-F238E27FC236}">
                <a16:creationId xmlns:a16="http://schemas.microsoft.com/office/drawing/2014/main" id="{2D2B266D-3625-4584-A5C3-7D3F672CF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Rectangle 33">
            <a:extLst>
              <a:ext uri="{FF2B5EF4-FFF2-40B4-BE49-F238E27FC236}">
                <a16:creationId xmlns:a16="http://schemas.microsoft.com/office/drawing/2014/main" id="{C463B99A-73EE-4FBB-B7C4-F9F9BCC25C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Freeform: Shape 35">
            <a:extLst>
              <a:ext uri="{FF2B5EF4-FFF2-40B4-BE49-F238E27FC236}">
                <a16:creationId xmlns:a16="http://schemas.microsoft.com/office/drawing/2014/main" id="{A5D2A5D1-BA0D-47D3-B051-DA7743C46E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713D4950-93FD-5C78-6897-BD78578EEB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92563" y="229025"/>
            <a:ext cx="8006873" cy="5563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1385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9A47E8-2C22-6D50-E59A-2DC831A46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3460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9A47E8-2C22-6D50-E59A-2DC831A46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/>
              <a:t>Agenda</a:t>
            </a:r>
            <a:endParaRPr lang="pl-P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0861D9-220A-D165-70E3-9BBCE8712D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C676DF6-A479-84FE-69D9-14B72461E32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7" name="Title 2">
            <a:extLst>
              <a:ext uri="{FF2B5EF4-FFF2-40B4-BE49-F238E27FC236}">
                <a16:creationId xmlns:a16="http://schemas.microsoft.com/office/drawing/2014/main" id="{8E87A71D-3A57-769E-4ECF-AC1EC8C97737}"/>
              </a:ext>
            </a:extLst>
          </p:cNvPr>
          <p:cNvSpPr txBox="1">
            <a:spLocks/>
          </p:cNvSpPr>
          <p:nvPr/>
        </p:nvSpPr>
        <p:spPr bwMode="gray">
          <a:xfrm>
            <a:off x="619387" y="792927"/>
            <a:ext cx="5334000" cy="8848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8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swald"/>
                <a:ea typeface="+mj-ea"/>
                <a:cs typeface="+mj-cs"/>
              </a:rPr>
              <a:t>Grzegorz Strzymiński</a:t>
            </a:r>
            <a:endParaRPr kumimoji="0" lang="pl-PL" sz="3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swald"/>
              <a:ea typeface="+mj-ea"/>
              <a:cs typeface="+mj-cs"/>
            </a:endParaRPr>
          </a:p>
        </p:txBody>
      </p:sp>
      <p:pic>
        <p:nvPicPr>
          <p:cNvPr id="28" name="Picture Placeholder 12" descr="A person in a suit&#10;&#10;Description automatically generated">
            <a:extLst>
              <a:ext uri="{FF2B5EF4-FFF2-40B4-BE49-F238E27FC236}">
                <a16:creationId xmlns:a16="http://schemas.microsoft.com/office/drawing/2014/main" id="{BE9E1513-F0A2-A7BB-104A-088E1B83056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0" t="3414" r="11162" b="26127"/>
          <a:stretch/>
        </p:blipFill>
        <p:spPr>
          <a:xfrm>
            <a:off x="8214895" y="1440836"/>
            <a:ext cx="3670887" cy="471878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3025E93-9AA3-BDFE-B249-3F6E07351D8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2005" y="2433369"/>
            <a:ext cx="2183957" cy="262906"/>
          </a:xfrm>
          <a:prstGeom prst="rect">
            <a:avLst/>
          </a:prstGeom>
        </p:spPr>
      </p:pic>
      <p:pic>
        <p:nvPicPr>
          <p:cNvPr id="30" name="Picture 2" descr="Sessionize - Call for Papers, Schedule and Speaker Management Software">
            <a:extLst>
              <a:ext uri="{FF2B5EF4-FFF2-40B4-BE49-F238E27FC236}">
                <a16:creationId xmlns:a16="http://schemas.microsoft.com/office/drawing/2014/main" id="{CC46D153-1041-0A12-3F5C-3009A45A93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005" y="5903270"/>
            <a:ext cx="2251339" cy="412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>
            <a:extLst>
              <a:ext uri="{FF2B5EF4-FFF2-40B4-BE49-F238E27FC236}">
                <a16:creationId xmlns:a16="http://schemas.microsoft.com/office/drawing/2014/main" id="{28E62DA1-7929-0068-9604-9EAE8AD270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005" y="4493123"/>
            <a:ext cx="779405" cy="779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8">
            <a:extLst>
              <a:ext uri="{FF2B5EF4-FFF2-40B4-BE49-F238E27FC236}">
                <a16:creationId xmlns:a16="http://schemas.microsoft.com/office/drawing/2014/main" id="{680AEB11-57ED-9BE8-BA82-3CB680F46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005" y="3333453"/>
            <a:ext cx="997185" cy="690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5333EBBE-EC36-71A5-CCFC-1A07916994BF}"/>
              </a:ext>
            </a:extLst>
          </p:cNvPr>
          <p:cNvSpPr txBox="1"/>
          <p:nvPr/>
        </p:nvSpPr>
        <p:spPr>
          <a:xfrm>
            <a:off x="3718420" y="3438193"/>
            <a:ext cx="472090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l-PL" sz="3000" b="1">
                <a:solidFill>
                  <a:srgbClr val="1E1E1E"/>
                </a:solidFill>
                <a:latin typeface="Arial" panose="020B0604020202020204"/>
              </a:rPr>
              <a:t>@GregWorksPowerBI</a:t>
            </a:r>
            <a:endParaRPr lang="pl-PL" sz="3000" b="1" dirty="0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A9AEB49-02E6-FC02-80F9-CFC2ED19A833}"/>
              </a:ext>
            </a:extLst>
          </p:cNvPr>
          <p:cNvSpPr txBox="1"/>
          <p:nvPr/>
        </p:nvSpPr>
        <p:spPr>
          <a:xfrm>
            <a:off x="3718420" y="4605056"/>
            <a:ext cx="430984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l-PL" sz="3000" b="1">
                <a:solidFill>
                  <a:srgbClr val="1E1E1E"/>
                </a:solidFill>
                <a:latin typeface="Arial" panose="020B0604020202020204"/>
              </a:rPr>
              <a:t>/greg-strzyminski</a:t>
            </a:r>
            <a:endParaRPr lang="pl-PL" sz="3000" b="1" dirty="0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BF1F064-FD32-FDF7-52C4-F423E161BEC7}"/>
              </a:ext>
            </a:extLst>
          </p:cNvPr>
          <p:cNvSpPr txBox="1"/>
          <p:nvPr/>
        </p:nvSpPr>
        <p:spPr>
          <a:xfrm>
            <a:off x="3718420" y="5771918"/>
            <a:ext cx="508163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l-PL" sz="3000" b="1">
                <a:solidFill>
                  <a:srgbClr val="1E1E1E"/>
                </a:solidFill>
                <a:latin typeface="Arial" panose="020B0604020202020204"/>
              </a:rPr>
              <a:t>/greg-strzyminski</a:t>
            </a:r>
            <a:endParaRPr lang="pl-PL" sz="3000" b="1" dirty="0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57467C-68FD-D35A-D37B-59B20FE9DF93}"/>
              </a:ext>
            </a:extLst>
          </p:cNvPr>
          <p:cNvSpPr txBox="1"/>
          <p:nvPr/>
        </p:nvSpPr>
        <p:spPr>
          <a:xfrm>
            <a:off x="3718420" y="2271330"/>
            <a:ext cx="472090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l-PL" sz="3000">
                <a:solidFill>
                  <a:srgbClr val="1E1E1E"/>
                </a:solidFill>
                <a:latin typeface="Arial" panose="020B0604020202020204"/>
              </a:rPr>
              <a:t>Senior BI Developer</a:t>
            </a:r>
            <a:endParaRPr lang="pl-PL" sz="3000" dirty="0">
              <a:solidFill>
                <a:srgbClr val="1E1E1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366482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genda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33592B9-9D08-4CC5-79E0-4715D66CE1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US" noProof="0" dirty="0"/>
              <a:t>Nowa </a:t>
            </a:r>
            <a:r>
              <a:rPr lang="en-US" noProof="0" dirty="0" err="1"/>
              <a:t>wizualizacja</a:t>
            </a:r>
            <a:r>
              <a:rPr lang="en-US" noProof="0" dirty="0"/>
              <a:t> </a:t>
            </a:r>
            <a:r>
              <a:rPr lang="en-US" noProof="0" dirty="0" err="1"/>
              <a:t>fragmentatora</a:t>
            </a:r>
            <a:r>
              <a:rPr lang="en-US" noProof="0" dirty="0"/>
              <a:t> (</a:t>
            </a:r>
            <a:r>
              <a:rPr lang="en-US" noProof="0" dirty="0" err="1"/>
              <a:t>wyspowego</a:t>
            </a:r>
            <a:r>
              <a:rPr lang="en-US" noProof="0" dirty="0"/>
              <a:t>) </a:t>
            </a:r>
          </a:p>
          <a:p>
            <a:pPr>
              <a:lnSpc>
                <a:spcPct val="200000"/>
              </a:lnSpc>
            </a:pPr>
            <a:r>
              <a:rPr lang="en-US" noProof="0" dirty="0"/>
              <a:t>Nowa </a:t>
            </a:r>
            <a:r>
              <a:rPr lang="en-US" noProof="0" dirty="0" err="1"/>
              <a:t>wizualizacja</a:t>
            </a:r>
            <a:r>
              <a:rPr lang="en-US" noProof="0" dirty="0"/>
              <a:t> </a:t>
            </a:r>
            <a:r>
              <a:rPr lang="en-US" noProof="0" dirty="0" err="1"/>
              <a:t>karty</a:t>
            </a:r>
            <a:endParaRPr lang="en-US" noProof="0" dirty="0"/>
          </a:p>
          <a:p>
            <a:pPr>
              <a:lnSpc>
                <a:spcPct val="200000"/>
              </a:lnSpc>
            </a:pPr>
            <a:r>
              <a:rPr lang="en-US" noProof="0" dirty="0" err="1"/>
              <a:t>Demonstracje</a:t>
            </a:r>
            <a:r>
              <a:rPr lang="en-US" noProof="0" dirty="0"/>
              <a:t> </a:t>
            </a:r>
            <a:r>
              <a:rPr lang="en-US" noProof="0" dirty="0" err="1"/>
              <a:t>na</a:t>
            </a:r>
            <a:r>
              <a:rPr lang="en-US" noProof="0" dirty="0"/>
              <a:t> </a:t>
            </a:r>
            <a:r>
              <a:rPr lang="en-US" noProof="0" dirty="0" err="1"/>
              <a:t>żyw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66216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50F6B83-FAE7-CAEA-D06A-A5407EB396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4237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0F6B83-FAE7-CAEA-D06A-A5407EB396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o </a:t>
            </a:r>
            <a:r>
              <a:rPr lang="en-US" dirty="0" err="1"/>
              <a:t>tej</a:t>
            </a:r>
            <a:r>
              <a:rPr lang="en-US" dirty="0"/>
              <a:t> </a:t>
            </a:r>
            <a:r>
              <a:rPr lang="en-US" dirty="0" err="1"/>
              <a:t>sesji</a:t>
            </a:r>
            <a:r>
              <a:rPr lang="en-US" dirty="0"/>
              <a:t> </a:t>
            </a:r>
            <a:r>
              <a:rPr lang="en-US" dirty="0" err="1"/>
              <a:t>będziesz</a:t>
            </a:r>
            <a:r>
              <a:rPr lang="en-US" dirty="0"/>
              <a:t>: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33592B9-9D08-4CC5-79E0-4715D66CE1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olidFill>
                  <a:prstClr val="black"/>
                </a:solidFill>
                <a:latin typeface="Oswald"/>
              </a:rPr>
              <a:t>Zaznajomiony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z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bieżącymi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funkcjonalnościami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nowych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wizualizacji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karty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oraz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fragmentatora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swald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W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stani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wskazać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scenariusz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, w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który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użyci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ty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nowy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wizualizacji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przyniesi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najwięcej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korzyści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swald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Wyposażony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(a) w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wiedzę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techniczną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niezbędną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, by od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następnego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dnia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wykorzystywać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nowe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wizualizacje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karty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oraz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fragmentatora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we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własnych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Oswald"/>
              </a:rPr>
              <a:t>raportach</a:t>
            </a:r>
            <a:r>
              <a:rPr lang="en-US" dirty="0">
                <a:solidFill>
                  <a:prstClr val="black"/>
                </a:solidFill>
                <a:latin typeface="Oswald"/>
              </a:rPr>
              <a:t> Power BI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swald"/>
                <a:ea typeface="+mn-ea"/>
                <a:cs typeface="+mn-cs"/>
              </a:rPr>
              <a:t>.</a:t>
            </a:r>
            <a:endParaRPr kumimoji="0" lang="nl-NL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swald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DK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swa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swald"/>
              <a:ea typeface="+mn-ea"/>
              <a:cs typeface="+mn-cs"/>
            </a:endParaRP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17107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B495FD0-1899-E8B7-2FD1-6D4B98DB1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0674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495FD0-1899-E8B7-2FD1-6D4B98DB1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7859" y="365125"/>
            <a:ext cx="8647545" cy="1325563"/>
          </a:xfrm>
        </p:spPr>
        <p:txBody>
          <a:bodyPr vert="horz"/>
          <a:lstStyle/>
          <a:p>
            <a:r>
              <a:rPr lang="en-US" dirty="0" err="1"/>
              <a:t>Nowy</a:t>
            </a:r>
            <a:r>
              <a:rPr lang="en-US" dirty="0"/>
              <a:t> (</a:t>
            </a:r>
            <a:r>
              <a:rPr lang="en-US" dirty="0" err="1"/>
              <a:t>wyspowy</a:t>
            </a:r>
            <a:r>
              <a:rPr lang="en-US" dirty="0"/>
              <a:t>) </a:t>
            </a:r>
            <a:r>
              <a:rPr lang="en-US" dirty="0" err="1"/>
              <a:t>fragmentator</a:t>
            </a:r>
            <a:endParaRPr lang="en-US" dirty="0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596FDCC9-6288-0A07-C7EE-FFB9E6D56BF9}"/>
              </a:ext>
            </a:extLst>
          </p:cNvPr>
          <p:cNvSpPr txBox="1">
            <a:spLocks/>
          </p:cNvSpPr>
          <p:nvPr/>
        </p:nvSpPr>
        <p:spPr>
          <a:xfrm>
            <a:off x="838200" y="2268048"/>
            <a:ext cx="2317022" cy="8922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dirty="0"/>
              <a:t>Stary</a:t>
            </a:r>
            <a:endParaRPr lang="en-DK" sz="3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DCC99AE-7790-020D-1BAA-A6AE1526BE5E}"/>
              </a:ext>
            </a:extLst>
          </p:cNvPr>
          <p:cNvCxnSpPr>
            <a:cxnSpLocks/>
          </p:cNvCxnSpPr>
          <p:nvPr/>
        </p:nvCxnSpPr>
        <p:spPr>
          <a:xfrm>
            <a:off x="6146908" y="2841377"/>
            <a:ext cx="0" cy="28605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40B613FD-927A-EE39-34D1-618259B303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3433415"/>
            <a:ext cx="4963559" cy="146261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504A0A6-8D20-47EF-66ED-E6CB30147D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83097" y="3771425"/>
            <a:ext cx="5135907" cy="1000501"/>
          </a:xfrm>
          <a:prstGeom prst="rect">
            <a:avLst/>
          </a:prstGeom>
        </p:spPr>
      </p:pic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9271F7A4-3B79-EE6B-2F61-FFAE3467BA7A}"/>
              </a:ext>
            </a:extLst>
          </p:cNvPr>
          <p:cNvSpPr txBox="1">
            <a:spLocks/>
          </p:cNvSpPr>
          <p:nvPr/>
        </p:nvSpPr>
        <p:spPr>
          <a:xfrm>
            <a:off x="6846207" y="2268048"/>
            <a:ext cx="2317022" cy="892233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err="1"/>
              <a:t>Nowy</a:t>
            </a:r>
            <a:endParaRPr lang="en-DK" sz="3200" dirty="0"/>
          </a:p>
        </p:txBody>
      </p:sp>
    </p:spTree>
    <p:extLst>
      <p:ext uri="{BB962C8B-B14F-4D97-AF65-F5344CB8AC3E}">
        <p14:creationId xmlns:p14="http://schemas.microsoft.com/office/powerpoint/2010/main" val="36028160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E2FA294-1D4D-83AA-D0F6-E214821778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348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2FA294-1D4D-83AA-D0F6-E21482177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5"/>
            <a:ext cx="6624918" cy="1325563"/>
          </a:xfrm>
        </p:spPr>
        <p:txBody>
          <a:bodyPr vert="horz">
            <a:normAutofit/>
          </a:bodyPr>
          <a:lstStyle/>
          <a:p>
            <a:r>
              <a:rPr lang="en-US" dirty="0" err="1"/>
              <a:t>Harmonogram</a:t>
            </a:r>
            <a:r>
              <a:rPr lang="en-US" dirty="0"/>
              <a:t> </a:t>
            </a:r>
            <a:r>
              <a:rPr lang="en-US" dirty="0" err="1"/>
              <a:t>rozwoju</a:t>
            </a:r>
            <a:r>
              <a:rPr lang="en-US" dirty="0"/>
              <a:t> </a:t>
            </a:r>
            <a:r>
              <a:rPr lang="en-US" dirty="0" err="1"/>
              <a:t>nowego</a:t>
            </a:r>
            <a:r>
              <a:rPr lang="en-US" dirty="0"/>
              <a:t> </a:t>
            </a:r>
            <a:r>
              <a:rPr lang="en-US" dirty="0" err="1"/>
              <a:t>fragmentatora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396F4F6-EEF1-7B52-4468-79C5661FFF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65500"/>
            <a:ext cx="10201461" cy="3799642"/>
          </a:xfrm>
        </p:spPr>
        <p:txBody>
          <a:bodyPr>
            <a:normAutofit fontScale="92500" lnSpcReduction="10000"/>
          </a:bodyPr>
          <a:lstStyle/>
          <a:p>
            <a:pPr marL="0" indent="0" algn="l">
              <a:lnSpc>
                <a:spcPct val="90000"/>
              </a:lnSpc>
              <a:buNone/>
            </a:pPr>
            <a:r>
              <a:rPr lang="en-GB" sz="2000" b="1" dirty="0">
                <a:solidFill>
                  <a:srgbClr val="000000"/>
                </a:solidFill>
              </a:rPr>
              <a:t>Na </a:t>
            </a:r>
            <a:r>
              <a:rPr lang="en-GB" sz="2000" b="1" dirty="0" err="1">
                <a:solidFill>
                  <a:srgbClr val="000000"/>
                </a:solidFill>
              </a:rPr>
              <a:t>dzisiaj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dostępna</a:t>
            </a:r>
            <a:r>
              <a:rPr lang="en-GB" sz="2000" b="1" dirty="0">
                <a:solidFill>
                  <a:srgbClr val="000000"/>
                </a:solidFill>
              </a:rPr>
              <a:t> jest </a:t>
            </a:r>
            <a:r>
              <a:rPr lang="en-GB" sz="2000" b="1" dirty="0" err="1">
                <a:solidFill>
                  <a:srgbClr val="000000"/>
                </a:solidFill>
              </a:rPr>
              <a:t>tylko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nowa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wizualizacja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fragmentatora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wyspowego</a:t>
            </a:r>
            <a:r>
              <a:rPr lang="en-GB" sz="2000" b="1" dirty="0">
                <a:solidFill>
                  <a:srgbClr val="000000"/>
                </a:solidFill>
              </a:rPr>
              <a:t>.</a:t>
            </a:r>
          </a:p>
          <a:p>
            <a:pPr algn="l">
              <a:lnSpc>
                <a:spcPct val="90000"/>
              </a:lnSpc>
            </a:pPr>
            <a:endParaRPr lang="en-GB" sz="2000" b="1" dirty="0">
              <a:solidFill>
                <a:srgbClr val="000000"/>
              </a:solidFill>
            </a:endParaRPr>
          </a:p>
          <a:p>
            <a:pPr marL="0" indent="0" algn="l">
              <a:lnSpc>
                <a:spcPct val="90000"/>
              </a:lnSpc>
              <a:buNone/>
            </a:pPr>
            <a:r>
              <a:rPr lang="en-GB" sz="2000" b="1" dirty="0">
                <a:solidFill>
                  <a:srgbClr val="000000"/>
                </a:solidFill>
              </a:rPr>
              <a:t>Microsoft </a:t>
            </a:r>
            <a:r>
              <a:rPr lang="en-GB" sz="2000" b="1" dirty="0" err="1">
                <a:solidFill>
                  <a:srgbClr val="000000"/>
                </a:solidFill>
              </a:rPr>
              <a:t>planuje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stworzyć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także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kolejne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wersje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nowego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fragmentatora</a:t>
            </a:r>
            <a:r>
              <a:rPr lang="en-GB" sz="2000" b="1" dirty="0">
                <a:solidFill>
                  <a:srgbClr val="000000"/>
                </a:solidFill>
              </a:rPr>
              <a:t>. Oto </a:t>
            </a:r>
            <a:r>
              <a:rPr lang="en-GB" sz="2000" b="1" dirty="0" err="1">
                <a:solidFill>
                  <a:srgbClr val="000000"/>
                </a:solidFill>
              </a:rPr>
              <a:t>harmonogram</a:t>
            </a:r>
            <a:r>
              <a:rPr lang="en-GB" sz="2000" b="1" dirty="0">
                <a:solidFill>
                  <a:srgbClr val="000000"/>
                </a:solidFill>
              </a:rPr>
              <a:t>:</a:t>
            </a:r>
          </a:p>
          <a:p>
            <a:pPr algn="l">
              <a:lnSpc>
                <a:spcPct val="90000"/>
              </a:lnSpc>
            </a:pP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ragmentator</a:t>
            </a:r>
            <a:r>
              <a:rPr lang="en-GB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GB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yspowy</a:t>
            </a:r>
            <a:r>
              <a:rPr lang="en-GB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- </a:t>
            </a:r>
            <a:r>
              <a:rPr lang="en-GB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ostępny</a:t>
            </a:r>
            <a:endParaRPr lang="en-GB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800100" lvl="1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 err="1">
                <a:solidFill>
                  <a:srgbClr val="000000"/>
                </a:solidFill>
              </a:rPr>
              <a:t>Fragmentator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listy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oraz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rozwijanej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listy</a:t>
            </a:r>
            <a:r>
              <a:rPr lang="en-GB" sz="2000" b="1" dirty="0">
                <a:solidFill>
                  <a:srgbClr val="000000"/>
                </a:solidFill>
              </a:rPr>
              <a:t> – data </a:t>
            </a:r>
            <a:r>
              <a:rPr lang="en-GB" sz="2000" b="1" dirty="0" err="1">
                <a:solidFill>
                  <a:srgbClr val="000000"/>
                </a:solidFill>
              </a:rPr>
              <a:t>nieznana</a:t>
            </a: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 err="1">
                <a:solidFill>
                  <a:srgbClr val="000000"/>
                </a:solidFill>
              </a:rPr>
              <a:t>Fragmentator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suwaka</a:t>
            </a:r>
            <a:r>
              <a:rPr lang="en-GB" sz="2000" b="1" dirty="0">
                <a:solidFill>
                  <a:srgbClr val="000000"/>
                </a:solidFill>
              </a:rPr>
              <a:t> – data </a:t>
            </a:r>
            <a:r>
              <a:rPr lang="en-GB" sz="2000" b="1" dirty="0" err="1">
                <a:solidFill>
                  <a:srgbClr val="000000"/>
                </a:solidFill>
              </a:rPr>
              <a:t>nieznana</a:t>
            </a: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 err="1">
                <a:solidFill>
                  <a:srgbClr val="000000"/>
                </a:solidFill>
              </a:rPr>
              <a:t>Fragmentator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kalendarza</a:t>
            </a:r>
            <a:r>
              <a:rPr lang="en-GB" sz="2000" b="1" dirty="0">
                <a:solidFill>
                  <a:srgbClr val="000000"/>
                </a:solidFill>
              </a:rPr>
              <a:t> – data </a:t>
            </a:r>
            <a:r>
              <a:rPr lang="en-GB" sz="2000" b="1" dirty="0" err="1">
                <a:solidFill>
                  <a:srgbClr val="000000"/>
                </a:solidFill>
              </a:rPr>
              <a:t>nieznana</a:t>
            </a: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 algn="l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 err="1">
                <a:solidFill>
                  <a:srgbClr val="000000"/>
                </a:solidFill>
              </a:rPr>
              <a:t>Fragmentator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daty</a:t>
            </a:r>
            <a:r>
              <a:rPr lang="en-GB" sz="2000" b="1" dirty="0">
                <a:solidFill>
                  <a:srgbClr val="000000"/>
                </a:solidFill>
              </a:rPr>
              <a:t> </a:t>
            </a:r>
            <a:r>
              <a:rPr lang="en-GB" sz="2000" b="1" dirty="0" err="1">
                <a:solidFill>
                  <a:srgbClr val="000000"/>
                </a:solidFill>
              </a:rPr>
              <a:t>względnej</a:t>
            </a:r>
            <a:r>
              <a:rPr lang="en-GB" sz="2000" b="1" dirty="0">
                <a:solidFill>
                  <a:srgbClr val="000000"/>
                </a:solidFill>
              </a:rPr>
              <a:t> – data </a:t>
            </a:r>
            <a:r>
              <a:rPr lang="en-GB" sz="2000" b="1" dirty="0" err="1">
                <a:solidFill>
                  <a:srgbClr val="000000"/>
                </a:solidFill>
              </a:rPr>
              <a:t>nieznana</a:t>
            </a:r>
            <a:endParaRPr lang="en-GB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7828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A9FB577-02CF-BEAA-FD29-C0AE9AAE5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642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FB577-02CF-BEAA-FD29-C0AE9AAE5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owa </a:t>
            </a:r>
            <a:r>
              <a:rPr lang="en-US" dirty="0" err="1"/>
              <a:t>karta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66D268-AAC3-3615-9DC2-A7F04662B96B}"/>
              </a:ext>
            </a:extLst>
          </p:cNvPr>
          <p:cNvCxnSpPr>
            <a:cxnSpLocks/>
          </p:cNvCxnSpPr>
          <p:nvPr/>
        </p:nvCxnSpPr>
        <p:spPr>
          <a:xfrm>
            <a:off x="5750307" y="2602063"/>
            <a:ext cx="0" cy="28605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FC3A6DF-8044-0797-BCC2-05C4C33F2C5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733"/>
          <a:stretch/>
        </p:blipFill>
        <p:spPr>
          <a:xfrm>
            <a:off x="897413" y="3358500"/>
            <a:ext cx="3583314" cy="178669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7A5C224-9F25-6D64-1974-D23F8BD22C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0048" y="3199412"/>
            <a:ext cx="3992453" cy="2104865"/>
          </a:xfrm>
          <a:prstGeom prst="rect">
            <a:avLst/>
          </a:prstGeom>
        </p:spPr>
      </p:pic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41D34FB3-0800-9BFF-9177-1BF32D6A78A2}"/>
              </a:ext>
            </a:extLst>
          </p:cNvPr>
          <p:cNvSpPr txBox="1">
            <a:spLocks/>
          </p:cNvSpPr>
          <p:nvPr/>
        </p:nvSpPr>
        <p:spPr>
          <a:xfrm>
            <a:off x="838200" y="2073817"/>
            <a:ext cx="2317022" cy="8922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dirty="0" err="1"/>
              <a:t>Stara</a:t>
            </a:r>
            <a:endParaRPr lang="en-DK" sz="3200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DA82448D-C80F-93FB-9F35-FC5E69A1602F}"/>
              </a:ext>
            </a:extLst>
          </p:cNvPr>
          <p:cNvSpPr txBox="1">
            <a:spLocks/>
          </p:cNvSpPr>
          <p:nvPr/>
        </p:nvSpPr>
        <p:spPr>
          <a:xfrm>
            <a:off x="6810333" y="2073817"/>
            <a:ext cx="2317022" cy="892233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Nowa</a:t>
            </a:r>
            <a:endParaRPr lang="en-DK" sz="3200" dirty="0"/>
          </a:p>
        </p:txBody>
      </p:sp>
    </p:spTree>
    <p:extLst>
      <p:ext uri="{BB962C8B-B14F-4D97-AF65-F5344CB8AC3E}">
        <p14:creationId xmlns:p14="http://schemas.microsoft.com/office/powerpoint/2010/main" val="29503090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A9FB577-02CF-BEAA-FD29-C0AE9AAE5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055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FB577-02CF-BEAA-FD29-C0AE9AAE5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6E55460-8A90-5580-E513-0693E23AD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owa </a:t>
            </a:r>
            <a:r>
              <a:rPr lang="en-US" dirty="0" err="1"/>
              <a:t>wielo-karta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D708BE-A2C4-01C1-C1E4-AA22C50DA4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7344" y="2890229"/>
            <a:ext cx="10751821" cy="2039966"/>
          </a:xfrm>
          <a:prstGeom prst="rect">
            <a:avLst/>
          </a:prstGeom>
        </p:spPr>
      </p:pic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D4DB48BF-DBEF-6B54-B1BB-8E4ABDE0359F}"/>
              </a:ext>
            </a:extLst>
          </p:cNvPr>
          <p:cNvSpPr txBox="1">
            <a:spLocks/>
          </p:cNvSpPr>
          <p:nvPr/>
        </p:nvSpPr>
        <p:spPr>
          <a:xfrm>
            <a:off x="903308" y="2229265"/>
            <a:ext cx="10837587" cy="892233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err="1"/>
              <a:t>Cała</a:t>
            </a:r>
            <a:r>
              <a:rPr lang="en-US" sz="3200" dirty="0"/>
              <a:t> </a:t>
            </a:r>
            <a:r>
              <a:rPr lang="en-US" sz="3200" dirty="0" err="1"/>
              <a:t>wizualizacja</a:t>
            </a:r>
            <a:r>
              <a:rPr lang="en-US" sz="3200" dirty="0"/>
              <a:t> </a:t>
            </a:r>
            <a:r>
              <a:rPr lang="en-US" sz="3200" dirty="0" err="1"/>
              <a:t>poniżej</a:t>
            </a:r>
            <a:r>
              <a:rPr lang="en-US" sz="3200" dirty="0"/>
              <a:t> jest </a:t>
            </a:r>
            <a:r>
              <a:rPr lang="en-US" sz="3200" dirty="0" err="1"/>
              <a:t>jednym</a:t>
            </a:r>
            <a:r>
              <a:rPr lang="en-US" sz="3200" dirty="0"/>
              <a:t> </a:t>
            </a:r>
            <a:r>
              <a:rPr lang="en-US" sz="3200" dirty="0" err="1"/>
              <a:t>elementem</a:t>
            </a:r>
            <a:endParaRPr lang="en-DK" sz="3200" dirty="0"/>
          </a:p>
        </p:txBody>
      </p:sp>
    </p:spTree>
    <p:extLst>
      <p:ext uri="{BB962C8B-B14F-4D97-AF65-F5344CB8AC3E}">
        <p14:creationId xmlns:p14="http://schemas.microsoft.com/office/powerpoint/2010/main" val="1402666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</TotalTime>
  <Words>337</Words>
  <Application>Microsoft Office PowerPoint</Application>
  <PresentationFormat>Widescreen</PresentationFormat>
  <Paragraphs>59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ptos</vt:lpstr>
      <vt:lpstr>Arial</vt:lpstr>
      <vt:lpstr>Calibri</vt:lpstr>
      <vt:lpstr>Oswald</vt:lpstr>
      <vt:lpstr>Office Theme</vt:lpstr>
      <vt:lpstr>think-cell Slide</vt:lpstr>
      <vt:lpstr>Co naprawdę potrafią nowe wizualizacje karty oraz fragmentatora w Power BI?</vt:lpstr>
      <vt:lpstr>PowerPoint Presentation</vt:lpstr>
      <vt:lpstr>Agenda</vt:lpstr>
      <vt:lpstr>Agenda</vt:lpstr>
      <vt:lpstr>Po tej sesji będziesz:</vt:lpstr>
      <vt:lpstr>Nowy (wyspowy) fragmentator</vt:lpstr>
      <vt:lpstr>Harmonogram rozwoju nowego fragmentatora</vt:lpstr>
      <vt:lpstr>Nowa karta</vt:lpstr>
      <vt:lpstr>Nowa wielo-karta</vt:lpstr>
      <vt:lpstr>Harmonogram rozwoju nowej karty</vt:lpstr>
      <vt:lpstr>Demonstracje na żywo</vt:lpstr>
      <vt:lpstr>Wnioski</vt:lpstr>
      <vt:lpstr>Dziękuję za uwagę!</vt:lpstr>
      <vt:lpstr>Q&amp;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ł Sadowski</dc:creator>
  <cp:lastModifiedBy>Strzyminski, Grzegorz</cp:lastModifiedBy>
  <cp:revision>14</cp:revision>
  <dcterms:created xsi:type="dcterms:W3CDTF">2024-04-18T18:49:17Z</dcterms:created>
  <dcterms:modified xsi:type="dcterms:W3CDTF">2024-05-15T07:31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e815a84-bb14-486b-9367-c1af54c95fa4_Enabled">
    <vt:lpwstr>true</vt:lpwstr>
  </property>
  <property fmtid="{D5CDD505-2E9C-101B-9397-08002B2CF9AE}" pid="3" name="MSIP_Label_0e815a84-bb14-486b-9367-c1af54c95fa4_SetDate">
    <vt:lpwstr>2024-05-08T17:59:28Z</vt:lpwstr>
  </property>
  <property fmtid="{D5CDD505-2E9C-101B-9397-08002B2CF9AE}" pid="4" name="MSIP_Label_0e815a84-bb14-486b-9367-c1af54c95fa4_Method">
    <vt:lpwstr>Standard</vt:lpwstr>
  </property>
  <property fmtid="{D5CDD505-2E9C-101B-9397-08002B2CF9AE}" pid="5" name="MSIP_Label_0e815a84-bb14-486b-9367-c1af54c95fa4_Name">
    <vt:lpwstr>Standard</vt:lpwstr>
  </property>
  <property fmtid="{D5CDD505-2E9C-101B-9397-08002B2CF9AE}" pid="6" name="MSIP_Label_0e815a84-bb14-486b-9367-c1af54c95fa4_SiteId">
    <vt:lpwstr>5dc645ed-297f-4dca-b0af-2339c71c5388</vt:lpwstr>
  </property>
  <property fmtid="{D5CDD505-2E9C-101B-9397-08002B2CF9AE}" pid="7" name="MSIP_Label_0e815a84-bb14-486b-9367-c1af54c95fa4_ActionId">
    <vt:lpwstr>8a005156-1c1c-4ed1-a57d-e4e55b274dc1</vt:lpwstr>
  </property>
  <property fmtid="{D5CDD505-2E9C-101B-9397-08002B2CF9AE}" pid="8" name="MSIP_Label_0e815a84-bb14-486b-9367-c1af54c95fa4_ContentBits">
    <vt:lpwstr>0</vt:lpwstr>
  </property>
</Properties>
</file>